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5"/>
  </p:notesMasterIdLst>
  <p:sldIdLst>
    <p:sldId id="2147470553" r:id="rId5"/>
    <p:sldId id="2147470557" r:id="rId6"/>
    <p:sldId id="2147470558" r:id="rId7"/>
    <p:sldId id="2147470559" r:id="rId8"/>
    <p:sldId id="2147470565" r:id="rId9"/>
    <p:sldId id="2147470564" r:id="rId10"/>
    <p:sldId id="2147470593" r:id="rId11"/>
    <p:sldId id="2147470573" r:id="rId12"/>
    <p:sldId id="2147470584" r:id="rId13"/>
    <p:sldId id="2147470585" r:id="rId14"/>
    <p:sldId id="2147470586" r:id="rId15"/>
    <p:sldId id="2147470587" r:id="rId16"/>
    <p:sldId id="2147470589" r:id="rId17"/>
    <p:sldId id="2147470588" r:id="rId18"/>
    <p:sldId id="2147470590" r:id="rId19"/>
    <p:sldId id="2147470592" r:id="rId20"/>
    <p:sldId id="2147470574" r:id="rId21"/>
    <p:sldId id="2147470591" r:id="rId22"/>
    <p:sldId id="2147470575" r:id="rId23"/>
    <p:sldId id="2147470594" r:id="rId24"/>
    <p:sldId id="2147470596" r:id="rId25"/>
    <p:sldId id="2147470597" r:id="rId26"/>
    <p:sldId id="2147470598" r:id="rId27"/>
    <p:sldId id="2147470595" r:id="rId28"/>
    <p:sldId id="2147470600" r:id="rId29"/>
    <p:sldId id="2147470599" r:id="rId30"/>
    <p:sldId id="2147470601" r:id="rId31"/>
    <p:sldId id="2147470576" r:id="rId32"/>
    <p:sldId id="2147470602" r:id="rId33"/>
    <p:sldId id="2147470579" r:id="rId34"/>
    <p:sldId id="2147470580" r:id="rId35"/>
    <p:sldId id="2147470577" r:id="rId36"/>
    <p:sldId id="2147470578" r:id="rId37"/>
    <p:sldId id="2147470581" r:id="rId38"/>
    <p:sldId id="2147470603" r:id="rId39"/>
    <p:sldId id="2147470582" r:id="rId40"/>
    <p:sldId id="2147470606" r:id="rId41"/>
    <p:sldId id="2147470605" r:id="rId42"/>
    <p:sldId id="2147470604" r:id="rId43"/>
    <p:sldId id="2147470560"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7E15B6-46DF-4A93-812A-0A1DF0046D2D}" v="2863" dt="2023-09-12T18:38:10.080"/>
    <p1510:client id="{B6FDFF27-C467-4918-AC10-A036B07F40B2}" v="1750" dt="2023-09-11T17:59:58.248"/>
    <p1510:client id="{BADFC5F9-7469-4C33-B617-8367941D32AF}" v="2624" dt="2023-09-07T18:48:13.732"/>
    <p1510:client id="{EB2C8990-FC67-4923-BE6B-3A97BC210081}" v="62" dt="2023-09-12T18:46:49.8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6" autoAdjust="0"/>
    <p:restoredTop sz="94660"/>
  </p:normalViewPr>
  <p:slideViewPr>
    <p:cSldViewPr snapToGrid="0">
      <p:cViewPr varScale="1">
        <p:scale>
          <a:sx n="112" d="100"/>
          <a:sy n="112" d="100"/>
        </p:scale>
        <p:origin x="78"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wayne Natwick" userId="d11f0013982d5c78" providerId="Windows Live" clId="Web-{AF7E15B6-46DF-4A93-812A-0A1DF0046D2D}"/>
    <pc:docChg chg="addSld modSld">
      <pc:chgData name="Dwayne Natwick" userId="d11f0013982d5c78" providerId="Windows Live" clId="Web-{AF7E15B6-46DF-4A93-812A-0A1DF0046D2D}" dt="2023-09-12T18:38:10.080" v="1790" actId="20577"/>
      <pc:docMkLst>
        <pc:docMk/>
      </pc:docMkLst>
      <pc:sldChg chg="addSp delSp modSp">
        <pc:chgData name="Dwayne Natwick" userId="d11f0013982d5c78" providerId="Windows Live" clId="Web-{AF7E15B6-46DF-4A93-812A-0A1DF0046D2D}" dt="2023-09-12T17:52:14.169" v="195"/>
        <pc:sldMkLst>
          <pc:docMk/>
          <pc:sldMk cId="948136224" sldId="2147470573"/>
        </pc:sldMkLst>
        <pc:spChg chg="mod">
          <ac:chgData name="Dwayne Natwick" userId="d11f0013982d5c78" providerId="Windows Live" clId="Web-{AF7E15B6-46DF-4A93-812A-0A1DF0046D2D}" dt="2023-09-12T17:52:14.169" v="195"/>
          <ac:spMkLst>
            <pc:docMk/>
            <pc:sldMk cId="948136224" sldId="2147470573"/>
            <ac:spMk id="2" creationId="{9818A146-7202-24EA-7B4D-99C422D5DB3F}"/>
          </ac:spMkLst>
        </pc:spChg>
        <pc:spChg chg="add del">
          <ac:chgData name="Dwayne Natwick" userId="d11f0013982d5c78" providerId="Windows Live" clId="Web-{AF7E15B6-46DF-4A93-812A-0A1DF0046D2D}" dt="2023-09-12T17:52:14.169" v="195"/>
          <ac:spMkLst>
            <pc:docMk/>
            <pc:sldMk cId="948136224" sldId="2147470573"/>
            <ac:spMk id="3" creationId="{8810F879-0D52-6206-A283-CE7E0B7E3C5D}"/>
          </ac:spMkLst>
        </pc:spChg>
        <pc:graphicFrameChg chg="add del">
          <ac:chgData name="Dwayne Natwick" userId="d11f0013982d5c78" providerId="Windows Live" clId="Web-{AF7E15B6-46DF-4A93-812A-0A1DF0046D2D}" dt="2023-09-12T17:52:14.169" v="195"/>
          <ac:graphicFrameMkLst>
            <pc:docMk/>
            <pc:sldMk cId="948136224" sldId="2147470573"/>
            <ac:graphicFrameMk id="5" creationId="{74EA27C1-16C1-E423-0D71-02DB967DB000}"/>
          </ac:graphicFrameMkLst>
        </pc:graphicFrameChg>
      </pc:sldChg>
      <pc:sldChg chg="addSp delSp modSp">
        <pc:chgData name="Dwayne Natwick" userId="d11f0013982d5c78" providerId="Windows Live" clId="Web-{AF7E15B6-46DF-4A93-812A-0A1DF0046D2D}" dt="2023-09-12T17:54:43.815" v="312" actId="20577"/>
        <pc:sldMkLst>
          <pc:docMk/>
          <pc:sldMk cId="2030514790" sldId="2147470574"/>
        </pc:sldMkLst>
        <pc:spChg chg="mod">
          <ac:chgData name="Dwayne Natwick" userId="d11f0013982d5c78" providerId="Windows Live" clId="Web-{AF7E15B6-46DF-4A93-812A-0A1DF0046D2D}" dt="2023-09-12T17:52:47.764" v="197"/>
          <ac:spMkLst>
            <pc:docMk/>
            <pc:sldMk cId="2030514790" sldId="2147470574"/>
            <ac:spMk id="2" creationId="{9818A146-7202-24EA-7B4D-99C422D5DB3F}"/>
          </ac:spMkLst>
        </pc:spChg>
        <pc:spChg chg="del">
          <ac:chgData name="Dwayne Natwick" userId="d11f0013982d5c78" providerId="Windows Live" clId="Web-{AF7E15B6-46DF-4A93-812A-0A1DF0046D2D}" dt="2023-09-12T17:52:47.764" v="197"/>
          <ac:spMkLst>
            <pc:docMk/>
            <pc:sldMk cId="2030514790" sldId="2147470574"/>
            <ac:spMk id="3" creationId="{8810F879-0D52-6206-A283-CE7E0B7E3C5D}"/>
          </ac:spMkLst>
        </pc:spChg>
        <pc:graphicFrameChg chg="add modGraphic">
          <ac:chgData name="Dwayne Natwick" userId="d11f0013982d5c78" providerId="Windows Live" clId="Web-{AF7E15B6-46DF-4A93-812A-0A1DF0046D2D}" dt="2023-09-12T17:54:43.815" v="312" actId="20577"/>
          <ac:graphicFrameMkLst>
            <pc:docMk/>
            <pc:sldMk cId="2030514790" sldId="2147470574"/>
            <ac:graphicFrameMk id="5" creationId="{10573158-EC09-2CD0-C66A-15179B89CFF1}"/>
          </ac:graphicFrameMkLst>
        </pc:graphicFrameChg>
      </pc:sldChg>
      <pc:sldChg chg="addSp delSp modSp mod modClrScheme chgLayout modNotes">
        <pc:chgData name="Dwayne Natwick" userId="d11f0013982d5c78" providerId="Windows Live" clId="Web-{AF7E15B6-46DF-4A93-812A-0A1DF0046D2D}" dt="2023-09-12T17:56:30.350" v="313" actId="20577"/>
        <pc:sldMkLst>
          <pc:docMk/>
          <pc:sldMk cId="3649936595" sldId="2147470575"/>
        </pc:sldMkLst>
        <pc:spChg chg="mod">
          <ac:chgData name="Dwayne Natwick" userId="d11f0013982d5c78" providerId="Windows Live" clId="Web-{AF7E15B6-46DF-4A93-812A-0A1DF0046D2D}" dt="2023-09-12T17:56:30.350" v="313" actId="20577"/>
          <ac:spMkLst>
            <pc:docMk/>
            <pc:sldMk cId="3649936595" sldId="2147470575"/>
            <ac:spMk id="2" creationId="{8839F5C4-843E-DBAD-044B-1872C9832914}"/>
          </ac:spMkLst>
        </pc:spChg>
        <pc:spChg chg="del">
          <ac:chgData name="Dwayne Natwick" userId="d11f0013982d5c78" providerId="Windows Live" clId="Web-{AF7E15B6-46DF-4A93-812A-0A1DF0046D2D}" dt="2023-09-12T17:43:10.963" v="41"/>
          <ac:spMkLst>
            <pc:docMk/>
            <pc:sldMk cId="3649936595" sldId="2147470575"/>
            <ac:spMk id="3" creationId="{D7C5290E-4AF6-FD1E-F18C-F93AC87A023D}"/>
          </ac:spMkLst>
        </pc:spChg>
        <pc:spChg chg="add del mod">
          <ac:chgData name="Dwayne Natwick" userId="d11f0013982d5c78" providerId="Windows Live" clId="Web-{AF7E15B6-46DF-4A93-812A-0A1DF0046D2D}" dt="2023-09-12T17:45:37.108" v="102"/>
          <ac:spMkLst>
            <pc:docMk/>
            <pc:sldMk cId="3649936595" sldId="2147470575"/>
            <ac:spMk id="5" creationId="{78BFA28B-62B5-EC5D-171F-3F26EBE6B106}"/>
          </ac:spMkLst>
        </pc:spChg>
        <pc:spChg chg="add mod">
          <ac:chgData name="Dwayne Natwick" userId="d11f0013982d5c78" providerId="Windows Live" clId="Web-{AF7E15B6-46DF-4A93-812A-0A1DF0046D2D}" dt="2023-09-12T17:44:20.840" v="94" actId="20577"/>
          <ac:spMkLst>
            <pc:docMk/>
            <pc:sldMk cId="3649936595" sldId="2147470575"/>
            <ac:spMk id="9" creationId="{7239C8F0-B9DF-87A5-21C6-7F2244DB4517}"/>
          </ac:spMkLst>
        </pc:spChg>
        <pc:picChg chg="add mod ord">
          <ac:chgData name="Dwayne Natwick" userId="d11f0013982d5c78" providerId="Windows Live" clId="Web-{AF7E15B6-46DF-4A93-812A-0A1DF0046D2D}" dt="2023-09-12T17:43:13.963" v="42"/>
          <ac:picMkLst>
            <pc:docMk/>
            <pc:sldMk cId="3649936595" sldId="2147470575"/>
            <ac:picMk id="4" creationId="{5AF45389-AE37-8E5F-A9DE-5C05DCB87D6A}"/>
          </ac:picMkLst>
        </pc:picChg>
      </pc:sldChg>
      <pc:sldChg chg="addSp delSp modSp">
        <pc:chgData name="Dwayne Natwick" userId="d11f0013982d5c78" providerId="Windows Live" clId="Web-{AF7E15B6-46DF-4A93-812A-0A1DF0046D2D}" dt="2023-09-12T18:34:26.525" v="1760"/>
        <pc:sldMkLst>
          <pc:docMk/>
          <pc:sldMk cId="511214272" sldId="2147470576"/>
        </pc:sldMkLst>
        <pc:spChg chg="mod">
          <ac:chgData name="Dwayne Natwick" userId="d11f0013982d5c78" providerId="Windows Live" clId="Web-{AF7E15B6-46DF-4A93-812A-0A1DF0046D2D}" dt="2023-09-12T18:34:26.525" v="1760"/>
          <ac:spMkLst>
            <pc:docMk/>
            <pc:sldMk cId="511214272" sldId="2147470576"/>
            <ac:spMk id="2" creationId="{9991B069-6AF3-7B68-6726-099657220172}"/>
          </ac:spMkLst>
        </pc:spChg>
        <pc:spChg chg="del mod">
          <ac:chgData name="Dwayne Natwick" userId="d11f0013982d5c78" providerId="Windows Live" clId="Web-{AF7E15B6-46DF-4A93-812A-0A1DF0046D2D}" dt="2023-09-12T18:34:26.525" v="1760"/>
          <ac:spMkLst>
            <pc:docMk/>
            <pc:sldMk cId="511214272" sldId="2147470576"/>
            <ac:spMk id="3" creationId="{E503C6BB-C045-5A5C-DF84-C31BBF5E922A}"/>
          </ac:spMkLst>
        </pc:spChg>
        <pc:graphicFrameChg chg="add">
          <ac:chgData name="Dwayne Natwick" userId="d11f0013982d5c78" providerId="Windows Live" clId="Web-{AF7E15B6-46DF-4A93-812A-0A1DF0046D2D}" dt="2023-09-12T18:34:26.525" v="1760"/>
          <ac:graphicFrameMkLst>
            <pc:docMk/>
            <pc:sldMk cId="511214272" sldId="2147470576"/>
            <ac:graphicFrameMk id="5" creationId="{0F261073-2BAD-D61A-DB99-49C156412A8F}"/>
          </ac:graphicFrameMkLst>
        </pc:graphicFrameChg>
      </pc:sldChg>
      <pc:sldChg chg="modSp">
        <pc:chgData name="Dwayne Natwick" userId="d11f0013982d5c78" providerId="Windows Live" clId="Web-{AF7E15B6-46DF-4A93-812A-0A1DF0046D2D}" dt="2023-09-12T18:12:16.978" v="847" actId="20577"/>
        <pc:sldMkLst>
          <pc:docMk/>
          <pc:sldMk cId="4196600117" sldId="2147470577"/>
        </pc:sldMkLst>
        <pc:spChg chg="mod">
          <ac:chgData name="Dwayne Natwick" userId="d11f0013982d5c78" providerId="Windows Live" clId="Web-{AF7E15B6-46DF-4A93-812A-0A1DF0046D2D}" dt="2023-09-12T18:12:16.978" v="847" actId="20577"/>
          <ac:spMkLst>
            <pc:docMk/>
            <pc:sldMk cId="4196600117" sldId="2147470577"/>
            <ac:spMk id="3" creationId="{6EC7CC27-14D6-DF5B-9E38-E7E4DDE94B23}"/>
          </ac:spMkLst>
        </pc:spChg>
      </pc:sldChg>
      <pc:sldChg chg="mod modShow">
        <pc:chgData name="Dwayne Natwick" userId="d11f0013982d5c78" providerId="Windows Live" clId="Web-{AF7E15B6-46DF-4A93-812A-0A1DF0046D2D}" dt="2023-09-12T18:35:29.121" v="1761"/>
        <pc:sldMkLst>
          <pc:docMk/>
          <pc:sldMk cId="1593797140" sldId="2147470578"/>
        </pc:sldMkLst>
      </pc:sldChg>
      <pc:sldChg chg="addSp delSp modSp modNotes">
        <pc:chgData name="Dwayne Natwick" userId="d11f0013982d5c78" providerId="Windows Live" clId="Web-{AF7E15B6-46DF-4A93-812A-0A1DF0046D2D}" dt="2023-09-12T18:33:59.696" v="1757"/>
        <pc:sldMkLst>
          <pc:docMk/>
          <pc:sldMk cId="90178162" sldId="2147470579"/>
        </pc:sldMkLst>
        <pc:spChg chg="mod">
          <ac:chgData name="Dwayne Natwick" userId="d11f0013982d5c78" providerId="Windows Live" clId="Web-{AF7E15B6-46DF-4A93-812A-0A1DF0046D2D}" dt="2023-09-12T18:33:59.696" v="1757"/>
          <ac:spMkLst>
            <pc:docMk/>
            <pc:sldMk cId="90178162" sldId="2147470579"/>
            <ac:spMk id="2" creationId="{CCEE8F8E-8AB3-8B85-39AE-98837F46EC4B}"/>
          </ac:spMkLst>
        </pc:spChg>
        <pc:spChg chg="del mod">
          <ac:chgData name="Dwayne Natwick" userId="d11f0013982d5c78" providerId="Windows Live" clId="Web-{AF7E15B6-46DF-4A93-812A-0A1DF0046D2D}" dt="2023-09-12T18:33:59.696" v="1757"/>
          <ac:spMkLst>
            <pc:docMk/>
            <pc:sldMk cId="90178162" sldId="2147470579"/>
            <ac:spMk id="3" creationId="{B4AFBDF2-1F1B-3769-88CB-72B517B271D8}"/>
          </ac:spMkLst>
        </pc:spChg>
        <pc:graphicFrameChg chg="add">
          <ac:chgData name="Dwayne Natwick" userId="d11f0013982d5c78" providerId="Windows Live" clId="Web-{AF7E15B6-46DF-4A93-812A-0A1DF0046D2D}" dt="2023-09-12T18:33:59.696" v="1757"/>
          <ac:graphicFrameMkLst>
            <pc:docMk/>
            <pc:sldMk cId="90178162" sldId="2147470579"/>
            <ac:graphicFrameMk id="5" creationId="{7C56FF18-D543-A9E2-E639-54200B4A4673}"/>
          </ac:graphicFrameMkLst>
        </pc:graphicFrameChg>
      </pc:sldChg>
      <pc:sldChg chg="addSp delSp modSp mod modClrScheme chgLayout modNotes">
        <pc:chgData name="Dwayne Natwick" userId="d11f0013982d5c78" providerId="Windows Live" clId="Web-{AF7E15B6-46DF-4A93-812A-0A1DF0046D2D}" dt="2023-09-12T18:33:36.320" v="1756" actId="1076"/>
        <pc:sldMkLst>
          <pc:docMk/>
          <pc:sldMk cId="1437570267" sldId="2147470580"/>
        </pc:sldMkLst>
        <pc:spChg chg="mod">
          <ac:chgData name="Dwayne Natwick" userId="d11f0013982d5c78" providerId="Windows Live" clId="Web-{AF7E15B6-46DF-4A93-812A-0A1DF0046D2D}" dt="2023-09-12T18:33:00.990" v="1752"/>
          <ac:spMkLst>
            <pc:docMk/>
            <pc:sldMk cId="1437570267" sldId="2147470580"/>
            <ac:spMk id="2" creationId="{7B3A1FEB-4EBD-088C-B102-3A5E0A53F311}"/>
          </ac:spMkLst>
        </pc:spChg>
        <pc:spChg chg="add del mod">
          <ac:chgData name="Dwayne Natwick" userId="d11f0013982d5c78" providerId="Windows Live" clId="Web-{AF7E15B6-46DF-4A93-812A-0A1DF0046D2D}" dt="2023-09-12T18:33:00.990" v="1752"/>
          <ac:spMkLst>
            <pc:docMk/>
            <pc:sldMk cId="1437570267" sldId="2147470580"/>
            <ac:spMk id="3" creationId="{D24D1DD1-5F2D-D573-D7AB-BF9E297CC679}"/>
          </ac:spMkLst>
        </pc:spChg>
        <pc:spChg chg="add del mod">
          <ac:chgData name="Dwayne Natwick" userId="d11f0013982d5c78" providerId="Windows Live" clId="Web-{AF7E15B6-46DF-4A93-812A-0A1DF0046D2D}" dt="2023-09-12T18:32:51.303" v="1749"/>
          <ac:spMkLst>
            <pc:docMk/>
            <pc:sldMk cId="1437570267" sldId="2147470580"/>
            <ac:spMk id="4" creationId="{DE6B17E4-67EE-9781-0DC2-865FF8020352}"/>
          </ac:spMkLst>
        </pc:spChg>
        <pc:spChg chg="add del mod">
          <ac:chgData name="Dwayne Natwick" userId="d11f0013982d5c78" providerId="Windows Live" clId="Web-{AF7E15B6-46DF-4A93-812A-0A1DF0046D2D}" dt="2023-09-12T18:33:15.397" v="1753"/>
          <ac:spMkLst>
            <pc:docMk/>
            <pc:sldMk cId="1437570267" sldId="2147470580"/>
            <ac:spMk id="9" creationId="{E306C77C-B2C7-DC01-7C50-7BA78A96881A}"/>
          </ac:spMkLst>
        </pc:spChg>
        <pc:graphicFrameChg chg="add del">
          <ac:chgData name="Dwayne Natwick" userId="d11f0013982d5c78" providerId="Windows Live" clId="Web-{AF7E15B6-46DF-4A93-812A-0A1DF0046D2D}" dt="2023-09-12T18:33:00.944" v="1751"/>
          <ac:graphicFrameMkLst>
            <pc:docMk/>
            <pc:sldMk cId="1437570267" sldId="2147470580"/>
            <ac:graphicFrameMk id="5" creationId="{4229AB85-D51F-B2A0-1FEA-6734A0BFF771}"/>
          </ac:graphicFrameMkLst>
        </pc:graphicFrameChg>
        <pc:graphicFrameChg chg="add mod">
          <ac:chgData name="Dwayne Natwick" userId="d11f0013982d5c78" providerId="Windows Live" clId="Web-{AF7E15B6-46DF-4A93-812A-0A1DF0046D2D}" dt="2023-09-12T18:33:36.320" v="1756" actId="1076"/>
          <ac:graphicFrameMkLst>
            <pc:docMk/>
            <pc:sldMk cId="1437570267" sldId="2147470580"/>
            <ac:graphicFrameMk id="7" creationId="{3A80CE1E-78CC-6677-9E1F-AD6A51F41468}"/>
          </ac:graphicFrameMkLst>
        </pc:graphicFrameChg>
      </pc:sldChg>
      <pc:sldChg chg="mod modShow">
        <pc:chgData name="Dwayne Natwick" userId="d11f0013982d5c78" providerId="Windows Live" clId="Web-{AF7E15B6-46DF-4A93-812A-0A1DF0046D2D}" dt="2023-09-12T18:35:31.808" v="1762"/>
        <pc:sldMkLst>
          <pc:docMk/>
          <pc:sldMk cId="1083283128" sldId="2147470581"/>
        </pc:sldMkLst>
      </pc:sldChg>
      <pc:sldChg chg="modSp">
        <pc:chgData name="Dwayne Natwick" userId="d11f0013982d5c78" providerId="Windows Live" clId="Web-{AF7E15B6-46DF-4A93-812A-0A1DF0046D2D}" dt="2023-09-12T18:16:15.627" v="1036" actId="20577"/>
        <pc:sldMkLst>
          <pc:docMk/>
          <pc:sldMk cId="3763189814" sldId="2147470582"/>
        </pc:sldMkLst>
        <pc:spChg chg="mod">
          <ac:chgData name="Dwayne Natwick" userId="d11f0013982d5c78" providerId="Windows Live" clId="Web-{AF7E15B6-46DF-4A93-812A-0A1DF0046D2D}" dt="2023-09-12T18:16:15.627" v="1036" actId="20577"/>
          <ac:spMkLst>
            <pc:docMk/>
            <pc:sldMk cId="3763189814" sldId="2147470582"/>
            <ac:spMk id="3" creationId="{23A1A54E-6325-B210-02CE-A6FEE92CB668}"/>
          </ac:spMkLst>
        </pc:spChg>
      </pc:sldChg>
      <pc:sldChg chg="addSp delSp modSp mod modClrScheme chgLayout">
        <pc:chgData name="Dwayne Natwick" userId="d11f0013982d5c78" providerId="Windows Live" clId="Web-{AF7E15B6-46DF-4A93-812A-0A1DF0046D2D}" dt="2023-09-12T17:48:54.725" v="175"/>
        <pc:sldMkLst>
          <pc:docMk/>
          <pc:sldMk cId="3861986293" sldId="2147470583"/>
        </pc:sldMkLst>
        <pc:spChg chg="add del">
          <ac:chgData name="Dwayne Natwick" userId="d11f0013982d5c78" providerId="Windows Live" clId="Web-{AF7E15B6-46DF-4A93-812A-0A1DF0046D2D}" dt="2023-09-12T17:48:54.725" v="175"/>
          <ac:spMkLst>
            <pc:docMk/>
            <pc:sldMk cId="3861986293" sldId="2147470583"/>
            <ac:spMk id="2" creationId="{00347D79-9563-C73D-94EA-97CC3742AEAE}"/>
          </ac:spMkLst>
        </pc:spChg>
        <pc:spChg chg="mod ord">
          <ac:chgData name="Dwayne Natwick" userId="d11f0013982d5c78" providerId="Windows Live" clId="Web-{AF7E15B6-46DF-4A93-812A-0A1DF0046D2D}" dt="2023-09-12T17:48:54.725" v="175"/>
          <ac:spMkLst>
            <pc:docMk/>
            <pc:sldMk cId="3861986293" sldId="2147470583"/>
            <ac:spMk id="3" creationId="{B292C898-D7C5-5588-2756-41BF32174685}"/>
          </ac:spMkLst>
        </pc:spChg>
        <pc:spChg chg="add mod">
          <ac:chgData name="Dwayne Natwick" userId="d11f0013982d5c78" providerId="Windows Live" clId="Web-{AF7E15B6-46DF-4A93-812A-0A1DF0046D2D}" dt="2023-09-12T17:48:54.725" v="175"/>
          <ac:spMkLst>
            <pc:docMk/>
            <pc:sldMk cId="3861986293" sldId="2147470583"/>
            <ac:spMk id="4" creationId="{B269E640-ABA6-E084-C63A-7A1C976F25BF}"/>
          </ac:spMkLst>
        </pc:spChg>
        <pc:spChg chg="add del mod">
          <ac:chgData name="Dwayne Natwick" userId="d11f0013982d5c78" providerId="Windows Live" clId="Web-{AF7E15B6-46DF-4A93-812A-0A1DF0046D2D}" dt="2023-09-12T17:48:48.146" v="174"/>
          <ac:spMkLst>
            <pc:docMk/>
            <pc:sldMk cId="3861986293" sldId="2147470583"/>
            <ac:spMk id="10" creationId="{35A97FBC-4174-28FF-5A5B-47F58791B92E}"/>
          </ac:spMkLst>
        </pc:spChg>
        <pc:spChg chg="add del mod">
          <ac:chgData name="Dwayne Natwick" userId="d11f0013982d5c78" providerId="Windows Live" clId="Web-{AF7E15B6-46DF-4A93-812A-0A1DF0046D2D}" dt="2023-09-12T17:48:48.146" v="174"/>
          <ac:spMkLst>
            <pc:docMk/>
            <pc:sldMk cId="3861986293" sldId="2147470583"/>
            <ac:spMk id="12" creationId="{0D85D726-A650-C65F-9E5A-ECAC33271771}"/>
          </ac:spMkLst>
        </pc:spChg>
        <pc:picChg chg="add mod">
          <ac:chgData name="Dwayne Natwick" userId="d11f0013982d5c78" providerId="Windows Live" clId="Web-{AF7E15B6-46DF-4A93-812A-0A1DF0046D2D}" dt="2023-09-12T17:48:54.725" v="175"/>
          <ac:picMkLst>
            <pc:docMk/>
            <pc:sldMk cId="3861986293" sldId="2147470583"/>
            <ac:picMk id="5" creationId="{765FAD07-A030-38A5-FD92-FC1A4D70F233}"/>
          </ac:picMkLst>
        </pc:picChg>
      </pc:sldChg>
      <pc:sldChg chg="addSp delSp modSp">
        <pc:chgData name="Dwayne Natwick" userId="d11f0013982d5c78" providerId="Windows Live" clId="Web-{AF7E15B6-46DF-4A93-812A-0A1DF0046D2D}" dt="2023-09-12T17:52:20.592" v="196"/>
        <pc:sldMkLst>
          <pc:docMk/>
          <pc:sldMk cId="3386646133" sldId="2147470584"/>
        </pc:sldMkLst>
        <pc:spChg chg="mod">
          <ac:chgData name="Dwayne Natwick" userId="d11f0013982d5c78" providerId="Windows Live" clId="Web-{AF7E15B6-46DF-4A93-812A-0A1DF0046D2D}" dt="2023-09-12T17:52:20.592" v="196"/>
          <ac:spMkLst>
            <pc:docMk/>
            <pc:sldMk cId="3386646133" sldId="2147470584"/>
            <ac:spMk id="2" creationId="{9818A146-7202-24EA-7B4D-99C422D5DB3F}"/>
          </ac:spMkLst>
        </pc:spChg>
        <pc:spChg chg="del">
          <ac:chgData name="Dwayne Natwick" userId="d11f0013982d5c78" providerId="Windows Live" clId="Web-{AF7E15B6-46DF-4A93-812A-0A1DF0046D2D}" dt="2023-09-12T17:52:20.592" v="196"/>
          <ac:spMkLst>
            <pc:docMk/>
            <pc:sldMk cId="3386646133" sldId="2147470584"/>
            <ac:spMk id="3" creationId="{8810F879-0D52-6206-A283-CE7E0B7E3C5D}"/>
          </ac:spMkLst>
        </pc:spChg>
        <pc:graphicFrameChg chg="add">
          <ac:chgData name="Dwayne Natwick" userId="d11f0013982d5c78" providerId="Windows Live" clId="Web-{AF7E15B6-46DF-4A93-812A-0A1DF0046D2D}" dt="2023-09-12T17:52:20.592" v="196"/>
          <ac:graphicFrameMkLst>
            <pc:docMk/>
            <pc:sldMk cId="3386646133" sldId="2147470584"/>
            <ac:graphicFrameMk id="5" creationId="{EF3B220F-990E-7A66-65F2-43D2A570A232}"/>
          </ac:graphicFrameMkLst>
        </pc:graphicFrameChg>
      </pc:sldChg>
      <pc:sldChg chg="addSp delSp modSp mod modClrScheme chgLayout">
        <pc:chgData name="Dwayne Natwick" userId="d11f0013982d5c78" providerId="Windows Live" clId="Web-{AF7E15B6-46DF-4A93-812A-0A1DF0046D2D}" dt="2023-09-12T17:50:20.369" v="183"/>
        <pc:sldMkLst>
          <pc:docMk/>
          <pc:sldMk cId="347590927" sldId="2147470587"/>
        </pc:sldMkLst>
        <pc:spChg chg="mod">
          <ac:chgData name="Dwayne Natwick" userId="d11f0013982d5c78" providerId="Windows Live" clId="Web-{AF7E15B6-46DF-4A93-812A-0A1DF0046D2D}" dt="2023-09-12T17:50:20.369" v="183"/>
          <ac:spMkLst>
            <pc:docMk/>
            <pc:sldMk cId="347590927" sldId="2147470587"/>
            <ac:spMk id="2" creationId="{49ED4149-7D80-DC24-D85C-E8F8E2138C6D}"/>
          </ac:spMkLst>
        </pc:spChg>
        <pc:spChg chg="del">
          <ac:chgData name="Dwayne Natwick" userId="d11f0013982d5c78" providerId="Windows Live" clId="Web-{AF7E15B6-46DF-4A93-812A-0A1DF0046D2D}" dt="2023-09-12T17:50:02.602" v="180"/>
          <ac:spMkLst>
            <pc:docMk/>
            <pc:sldMk cId="347590927" sldId="2147470587"/>
            <ac:spMk id="3" creationId="{9262B5ED-8454-F1E3-0143-C89092EF7A91}"/>
          </ac:spMkLst>
        </pc:spChg>
        <pc:spChg chg="add del mod">
          <ac:chgData name="Dwayne Natwick" userId="d11f0013982d5c78" providerId="Windows Live" clId="Web-{AF7E15B6-46DF-4A93-812A-0A1DF0046D2D}" dt="2023-09-12T17:50:16.243" v="182"/>
          <ac:spMkLst>
            <pc:docMk/>
            <pc:sldMk cId="347590927" sldId="2147470587"/>
            <ac:spMk id="9" creationId="{A90EEB16-96DE-5D64-BB2D-E00F6BD83330}"/>
          </ac:spMkLst>
        </pc:spChg>
        <pc:graphicFrameChg chg="add mod modGraphic">
          <ac:chgData name="Dwayne Natwick" userId="d11f0013982d5c78" providerId="Windows Live" clId="Web-{AF7E15B6-46DF-4A93-812A-0A1DF0046D2D}" dt="2023-09-12T17:50:20.369" v="183"/>
          <ac:graphicFrameMkLst>
            <pc:docMk/>
            <pc:sldMk cId="347590927" sldId="2147470587"/>
            <ac:graphicFrameMk id="5" creationId="{F1C54563-A4E7-4C95-AE2A-C0580B3CA81E}"/>
          </ac:graphicFrameMkLst>
        </pc:graphicFrameChg>
      </pc:sldChg>
      <pc:sldChg chg="addSp delSp modSp mod modClrScheme chgLayout">
        <pc:chgData name="Dwayne Natwick" userId="d11f0013982d5c78" providerId="Windows Live" clId="Web-{AF7E15B6-46DF-4A93-812A-0A1DF0046D2D}" dt="2023-09-12T17:50:48.432" v="186"/>
        <pc:sldMkLst>
          <pc:docMk/>
          <pc:sldMk cId="2214484181" sldId="2147470588"/>
        </pc:sldMkLst>
        <pc:spChg chg="mod">
          <ac:chgData name="Dwayne Natwick" userId="d11f0013982d5c78" providerId="Windows Live" clId="Web-{AF7E15B6-46DF-4A93-812A-0A1DF0046D2D}" dt="2023-09-12T17:50:48.432" v="186"/>
          <ac:spMkLst>
            <pc:docMk/>
            <pc:sldMk cId="2214484181" sldId="2147470588"/>
            <ac:spMk id="2" creationId="{49ED4149-7D80-DC24-D85C-E8F8E2138C6D}"/>
          </ac:spMkLst>
        </pc:spChg>
        <pc:spChg chg="del">
          <ac:chgData name="Dwayne Natwick" userId="d11f0013982d5c78" providerId="Windows Live" clId="Web-{AF7E15B6-46DF-4A93-812A-0A1DF0046D2D}" dt="2023-09-12T17:49:39.164" v="178"/>
          <ac:spMkLst>
            <pc:docMk/>
            <pc:sldMk cId="2214484181" sldId="2147470588"/>
            <ac:spMk id="3" creationId="{9262B5ED-8454-F1E3-0143-C89092EF7A91}"/>
          </ac:spMkLst>
        </pc:spChg>
        <pc:spChg chg="add del mod">
          <ac:chgData name="Dwayne Natwick" userId="d11f0013982d5c78" providerId="Windows Live" clId="Web-{AF7E15B6-46DF-4A93-812A-0A1DF0046D2D}" dt="2023-09-12T17:50:44.760" v="185"/>
          <ac:spMkLst>
            <pc:docMk/>
            <pc:sldMk cId="2214484181" sldId="2147470588"/>
            <ac:spMk id="10" creationId="{B963B13C-222A-ADA7-ED28-1E1E4B6B9A4E}"/>
          </ac:spMkLst>
        </pc:spChg>
        <pc:graphicFrameChg chg="add mod modGraphic">
          <ac:chgData name="Dwayne Natwick" userId="d11f0013982d5c78" providerId="Windows Live" clId="Web-{AF7E15B6-46DF-4A93-812A-0A1DF0046D2D}" dt="2023-09-12T17:50:48.432" v="186"/>
          <ac:graphicFrameMkLst>
            <pc:docMk/>
            <pc:sldMk cId="2214484181" sldId="2147470588"/>
            <ac:graphicFrameMk id="5" creationId="{F0FC495E-D653-EBE3-078E-A8B68A55A8FA}"/>
          </ac:graphicFrameMkLst>
        </pc:graphicFrameChg>
      </pc:sldChg>
      <pc:sldChg chg="addSp delSp modSp">
        <pc:chgData name="Dwayne Natwick" userId="d11f0013982d5c78" providerId="Windows Live" clId="Web-{AF7E15B6-46DF-4A93-812A-0A1DF0046D2D}" dt="2023-09-12T17:50:07.790" v="181"/>
        <pc:sldMkLst>
          <pc:docMk/>
          <pc:sldMk cId="3716502182" sldId="2147470589"/>
        </pc:sldMkLst>
        <pc:spChg chg="mod">
          <ac:chgData name="Dwayne Natwick" userId="d11f0013982d5c78" providerId="Windows Live" clId="Web-{AF7E15B6-46DF-4A93-812A-0A1DF0046D2D}" dt="2023-09-12T17:49:30.820" v="177"/>
          <ac:spMkLst>
            <pc:docMk/>
            <pc:sldMk cId="3716502182" sldId="2147470589"/>
            <ac:spMk id="2" creationId="{49ED4149-7D80-DC24-D85C-E8F8E2138C6D}"/>
          </ac:spMkLst>
        </pc:spChg>
        <pc:spChg chg="del">
          <ac:chgData name="Dwayne Natwick" userId="d11f0013982d5c78" providerId="Windows Live" clId="Web-{AF7E15B6-46DF-4A93-812A-0A1DF0046D2D}" dt="2023-09-12T17:49:30.820" v="177"/>
          <ac:spMkLst>
            <pc:docMk/>
            <pc:sldMk cId="3716502182" sldId="2147470589"/>
            <ac:spMk id="3" creationId="{9262B5ED-8454-F1E3-0143-C89092EF7A91}"/>
          </ac:spMkLst>
        </pc:spChg>
        <pc:graphicFrameChg chg="add mod modGraphic">
          <ac:chgData name="Dwayne Natwick" userId="d11f0013982d5c78" providerId="Windows Live" clId="Web-{AF7E15B6-46DF-4A93-812A-0A1DF0046D2D}" dt="2023-09-12T17:50:07.790" v="181"/>
          <ac:graphicFrameMkLst>
            <pc:docMk/>
            <pc:sldMk cId="3716502182" sldId="2147470589"/>
            <ac:graphicFrameMk id="5" creationId="{B7A53284-6647-FE5D-20C3-715E935142A9}"/>
          </ac:graphicFrameMkLst>
        </pc:graphicFrameChg>
      </pc:sldChg>
      <pc:sldChg chg="addSp delSp modSp mod modClrScheme chgLayout">
        <pc:chgData name="Dwayne Natwick" userId="d11f0013982d5c78" providerId="Windows Live" clId="Web-{AF7E15B6-46DF-4A93-812A-0A1DF0046D2D}" dt="2023-09-12T17:51:34.574" v="193"/>
        <pc:sldMkLst>
          <pc:docMk/>
          <pc:sldMk cId="836223342" sldId="2147470590"/>
        </pc:sldMkLst>
        <pc:spChg chg="mod">
          <ac:chgData name="Dwayne Natwick" userId="d11f0013982d5c78" providerId="Windows Live" clId="Web-{AF7E15B6-46DF-4A93-812A-0A1DF0046D2D}" dt="2023-09-12T17:51:34.574" v="193"/>
          <ac:spMkLst>
            <pc:docMk/>
            <pc:sldMk cId="836223342" sldId="2147470590"/>
            <ac:spMk id="2" creationId="{49ED4149-7D80-DC24-D85C-E8F8E2138C6D}"/>
          </ac:spMkLst>
        </pc:spChg>
        <pc:spChg chg="del">
          <ac:chgData name="Dwayne Natwick" userId="d11f0013982d5c78" providerId="Windows Live" clId="Web-{AF7E15B6-46DF-4A93-812A-0A1DF0046D2D}" dt="2023-09-12T17:49:50.899" v="179"/>
          <ac:spMkLst>
            <pc:docMk/>
            <pc:sldMk cId="836223342" sldId="2147470590"/>
            <ac:spMk id="3" creationId="{9262B5ED-8454-F1E3-0143-C89092EF7A91}"/>
          </ac:spMkLst>
        </pc:spChg>
        <pc:spChg chg="add del mod">
          <ac:chgData name="Dwayne Natwick" userId="d11f0013982d5c78" providerId="Windows Live" clId="Web-{AF7E15B6-46DF-4A93-812A-0A1DF0046D2D}" dt="2023-09-12T17:50:57.010" v="188"/>
          <ac:spMkLst>
            <pc:docMk/>
            <pc:sldMk cId="836223342" sldId="2147470590"/>
            <ac:spMk id="10" creationId="{64C022E0-F7BD-8675-1BB9-6813E20D9395}"/>
          </ac:spMkLst>
        </pc:spChg>
        <pc:spChg chg="add del">
          <ac:chgData name="Dwayne Natwick" userId="d11f0013982d5c78" providerId="Windows Live" clId="Web-{AF7E15B6-46DF-4A93-812A-0A1DF0046D2D}" dt="2023-09-12T17:51:27.637" v="192"/>
          <ac:spMkLst>
            <pc:docMk/>
            <pc:sldMk cId="836223342" sldId="2147470590"/>
            <ac:spMk id="11" creationId="{CBAF7AB3-F730-B6AA-729C-BEAC59125432}"/>
          </ac:spMkLst>
        </pc:spChg>
        <pc:graphicFrameChg chg="add del mod modGraphic">
          <ac:chgData name="Dwayne Natwick" userId="d11f0013982d5c78" providerId="Windows Live" clId="Web-{AF7E15B6-46DF-4A93-812A-0A1DF0046D2D}" dt="2023-09-12T17:51:22.699" v="191"/>
          <ac:graphicFrameMkLst>
            <pc:docMk/>
            <pc:sldMk cId="836223342" sldId="2147470590"/>
            <ac:graphicFrameMk id="5" creationId="{82670351-1823-73D9-8F4B-01C9D4CE199E}"/>
          </ac:graphicFrameMkLst>
        </pc:graphicFrameChg>
        <pc:graphicFrameChg chg="add mod">
          <ac:chgData name="Dwayne Natwick" userId="d11f0013982d5c78" providerId="Windows Live" clId="Web-{AF7E15B6-46DF-4A93-812A-0A1DF0046D2D}" dt="2023-09-12T17:51:34.574" v="193"/>
          <ac:graphicFrameMkLst>
            <pc:docMk/>
            <pc:sldMk cId="836223342" sldId="2147470590"/>
            <ac:graphicFrameMk id="7" creationId="{6FB2ABBF-1AE7-AF32-9A14-05415C0B9088}"/>
          </ac:graphicFrameMkLst>
        </pc:graphicFrameChg>
      </pc:sldChg>
      <pc:sldChg chg="delSp modSp new mod modClrScheme chgLayout">
        <pc:chgData name="Dwayne Natwick" userId="d11f0013982d5c78" providerId="Windows Live" clId="Web-{AF7E15B6-46DF-4A93-812A-0A1DF0046D2D}" dt="2023-09-12T17:41:14.662" v="37" actId="20577"/>
        <pc:sldMkLst>
          <pc:docMk/>
          <pc:sldMk cId="823722957" sldId="2147470592"/>
        </pc:sldMkLst>
        <pc:spChg chg="mod ord">
          <ac:chgData name="Dwayne Natwick" userId="d11f0013982d5c78" providerId="Windows Live" clId="Web-{AF7E15B6-46DF-4A93-812A-0A1DF0046D2D}" dt="2023-09-12T17:41:14.662" v="37" actId="20577"/>
          <ac:spMkLst>
            <pc:docMk/>
            <pc:sldMk cId="823722957" sldId="2147470592"/>
            <ac:spMk id="2" creationId="{66E1C2FB-1BCB-1AC0-8E24-2129DA75AB20}"/>
          </ac:spMkLst>
        </pc:spChg>
        <pc:spChg chg="del">
          <ac:chgData name="Dwayne Natwick" userId="d11f0013982d5c78" providerId="Windows Live" clId="Web-{AF7E15B6-46DF-4A93-812A-0A1DF0046D2D}" dt="2023-09-12T16:41:49.235" v="1"/>
          <ac:spMkLst>
            <pc:docMk/>
            <pc:sldMk cId="823722957" sldId="2147470592"/>
            <ac:spMk id="3" creationId="{00BD254C-02C3-AC88-4E9C-A8C09A51EF14}"/>
          </ac:spMkLst>
        </pc:spChg>
      </pc:sldChg>
      <pc:sldChg chg="modSp new mod modClrScheme chgLayout">
        <pc:chgData name="Dwayne Natwick" userId="d11f0013982d5c78" providerId="Windows Live" clId="Web-{AF7E15B6-46DF-4A93-812A-0A1DF0046D2D}" dt="2023-09-12T16:42:55.816" v="27" actId="20577"/>
        <pc:sldMkLst>
          <pc:docMk/>
          <pc:sldMk cId="3948585883" sldId="2147470593"/>
        </pc:sldMkLst>
        <pc:spChg chg="mod ord">
          <ac:chgData name="Dwayne Natwick" userId="d11f0013982d5c78" providerId="Windows Live" clId="Web-{AF7E15B6-46DF-4A93-812A-0A1DF0046D2D}" dt="2023-09-12T16:42:55.816" v="27" actId="20577"/>
          <ac:spMkLst>
            <pc:docMk/>
            <pc:sldMk cId="3948585883" sldId="2147470593"/>
            <ac:spMk id="2" creationId="{87397CD5-183A-B74F-0D26-9D89FF7C3903}"/>
          </ac:spMkLst>
        </pc:spChg>
      </pc:sldChg>
      <pc:sldChg chg="addSp delSp modSp add mod replId modClrScheme chgLayout">
        <pc:chgData name="Dwayne Natwick" userId="d11f0013982d5c78" providerId="Windows Live" clId="Web-{AF7E15B6-46DF-4A93-812A-0A1DF0046D2D}" dt="2023-09-12T17:49:17.710" v="176"/>
        <pc:sldMkLst>
          <pc:docMk/>
          <pc:sldMk cId="449857184" sldId="2147470594"/>
        </pc:sldMkLst>
        <pc:spChg chg="mod">
          <ac:chgData name="Dwayne Natwick" userId="d11f0013982d5c78" providerId="Windows Live" clId="Web-{AF7E15B6-46DF-4A93-812A-0A1DF0046D2D}" dt="2023-09-12T17:49:17.710" v="176"/>
          <ac:spMkLst>
            <pc:docMk/>
            <pc:sldMk cId="449857184" sldId="2147470594"/>
            <ac:spMk id="2" creationId="{8839F5C4-843E-DBAD-044B-1872C9832914}"/>
          </ac:spMkLst>
        </pc:spChg>
        <pc:spChg chg="add del mod">
          <ac:chgData name="Dwayne Natwick" userId="d11f0013982d5c78" providerId="Windows Live" clId="Web-{AF7E15B6-46DF-4A93-812A-0A1DF0046D2D}" dt="2023-09-12T17:49:17.710" v="176"/>
          <ac:spMkLst>
            <pc:docMk/>
            <pc:sldMk cId="449857184" sldId="2147470594"/>
            <ac:spMk id="5" creationId="{9B72B5EA-96E2-7E6D-1C22-B026EF08D973}"/>
          </ac:spMkLst>
        </pc:spChg>
        <pc:spChg chg="del mod">
          <ac:chgData name="Dwayne Natwick" userId="d11f0013982d5c78" providerId="Windows Live" clId="Web-{AF7E15B6-46DF-4A93-812A-0A1DF0046D2D}" dt="2023-09-12T17:49:17.710" v="176"/>
          <ac:spMkLst>
            <pc:docMk/>
            <pc:sldMk cId="449857184" sldId="2147470594"/>
            <ac:spMk id="9" creationId="{7239C8F0-B9DF-87A5-21C6-7F2244DB4517}"/>
          </ac:spMkLst>
        </pc:spChg>
        <pc:graphicFrameChg chg="add mod">
          <ac:chgData name="Dwayne Natwick" userId="d11f0013982d5c78" providerId="Windows Live" clId="Web-{AF7E15B6-46DF-4A93-812A-0A1DF0046D2D}" dt="2023-09-12T17:49:17.710" v="176"/>
          <ac:graphicFrameMkLst>
            <pc:docMk/>
            <pc:sldMk cId="449857184" sldId="2147470594"/>
            <ac:graphicFrameMk id="11" creationId="{4FCBB56A-54EC-13D5-CEA2-56FB6C094E1B}"/>
          </ac:graphicFrameMkLst>
        </pc:graphicFrameChg>
        <pc:picChg chg="del">
          <ac:chgData name="Dwayne Natwick" userId="d11f0013982d5c78" providerId="Windows Live" clId="Web-{AF7E15B6-46DF-4A93-812A-0A1DF0046D2D}" dt="2023-09-12T17:46:41.501" v="120"/>
          <ac:picMkLst>
            <pc:docMk/>
            <pc:sldMk cId="449857184" sldId="2147470594"/>
            <ac:picMk id="4" creationId="{5AF45389-AE37-8E5F-A9DE-5C05DCB87D6A}"/>
          </ac:picMkLst>
        </pc:picChg>
      </pc:sldChg>
      <pc:sldChg chg="addSp delSp modSp add mod replId modClrScheme chgLayout">
        <pc:chgData name="Dwayne Natwick" userId="d11f0013982d5c78" providerId="Windows Live" clId="Web-{AF7E15B6-46DF-4A93-812A-0A1DF0046D2D}" dt="2023-09-12T18:34:13.477" v="1758"/>
        <pc:sldMkLst>
          <pc:docMk/>
          <pc:sldMk cId="3381500547" sldId="2147470595"/>
        </pc:sldMkLst>
        <pc:spChg chg="mod">
          <ac:chgData name="Dwayne Natwick" userId="d11f0013982d5c78" providerId="Windows Live" clId="Web-{AF7E15B6-46DF-4A93-812A-0A1DF0046D2D}" dt="2023-09-12T18:34:13.477" v="1758"/>
          <ac:spMkLst>
            <pc:docMk/>
            <pc:sldMk cId="3381500547" sldId="2147470595"/>
            <ac:spMk id="2" creationId="{8839F5C4-843E-DBAD-044B-1872C9832914}"/>
          </ac:spMkLst>
        </pc:spChg>
        <pc:spChg chg="del">
          <ac:chgData name="Dwayne Natwick" userId="d11f0013982d5c78" providerId="Windows Live" clId="Web-{AF7E15B6-46DF-4A93-812A-0A1DF0046D2D}" dt="2023-09-12T18:34:13.477" v="1758"/>
          <ac:spMkLst>
            <pc:docMk/>
            <pc:sldMk cId="3381500547" sldId="2147470595"/>
            <ac:spMk id="5" creationId="{9B72B5EA-96E2-7E6D-1C22-B026EF08D973}"/>
          </ac:spMkLst>
        </pc:spChg>
        <pc:spChg chg="del mod">
          <ac:chgData name="Dwayne Natwick" userId="d11f0013982d5c78" providerId="Windows Live" clId="Web-{AF7E15B6-46DF-4A93-812A-0A1DF0046D2D}" dt="2023-09-12T18:34:13.477" v="1758"/>
          <ac:spMkLst>
            <pc:docMk/>
            <pc:sldMk cId="3381500547" sldId="2147470595"/>
            <ac:spMk id="9" creationId="{7239C8F0-B9DF-87A5-21C6-7F2244DB4517}"/>
          </ac:spMkLst>
        </pc:spChg>
        <pc:graphicFrameChg chg="add mod">
          <ac:chgData name="Dwayne Natwick" userId="d11f0013982d5c78" providerId="Windows Live" clId="Web-{AF7E15B6-46DF-4A93-812A-0A1DF0046D2D}" dt="2023-09-12T18:34:13.477" v="1758"/>
          <ac:graphicFrameMkLst>
            <pc:docMk/>
            <pc:sldMk cId="3381500547" sldId="2147470595"/>
            <ac:graphicFrameMk id="11" creationId="{2183D4C5-A866-40A4-5694-A87F596A4052}"/>
          </ac:graphicFrameMkLst>
        </pc:graphicFrameChg>
      </pc:sldChg>
      <pc:sldChg chg="addSp modSp new">
        <pc:chgData name="Dwayne Natwick" userId="d11f0013982d5c78" providerId="Windows Live" clId="Web-{AF7E15B6-46DF-4A93-812A-0A1DF0046D2D}" dt="2023-09-12T18:02:23.566" v="479" actId="1076"/>
        <pc:sldMkLst>
          <pc:docMk/>
          <pc:sldMk cId="1619709891" sldId="2147470596"/>
        </pc:sldMkLst>
        <pc:spChg chg="mod">
          <ac:chgData name="Dwayne Natwick" userId="d11f0013982d5c78" providerId="Windows Live" clId="Web-{AF7E15B6-46DF-4A93-812A-0A1DF0046D2D}" dt="2023-09-12T17:56:54.586" v="327" actId="20577"/>
          <ac:spMkLst>
            <pc:docMk/>
            <pc:sldMk cId="1619709891" sldId="2147470596"/>
            <ac:spMk id="2" creationId="{C83B6E44-5BA6-5E05-4F62-06C1C1B4745F}"/>
          </ac:spMkLst>
        </pc:spChg>
        <pc:spChg chg="mod">
          <ac:chgData name="Dwayne Natwick" userId="d11f0013982d5c78" providerId="Windows Live" clId="Web-{AF7E15B6-46DF-4A93-812A-0A1DF0046D2D}" dt="2023-09-12T18:01:25.955" v="466" actId="20577"/>
          <ac:spMkLst>
            <pc:docMk/>
            <pc:sldMk cId="1619709891" sldId="2147470596"/>
            <ac:spMk id="3" creationId="{F8D78B17-9AC1-3773-F5A7-05FB325AB696}"/>
          </ac:spMkLst>
        </pc:spChg>
        <pc:picChg chg="add mod">
          <ac:chgData name="Dwayne Natwick" userId="d11f0013982d5c78" providerId="Windows Live" clId="Web-{AF7E15B6-46DF-4A93-812A-0A1DF0046D2D}" dt="2023-09-12T18:02:22.285" v="478" actId="1076"/>
          <ac:picMkLst>
            <pc:docMk/>
            <pc:sldMk cId="1619709891" sldId="2147470596"/>
            <ac:picMk id="4" creationId="{E4B1F715-1E43-CED5-B95B-CA22EDDF35F0}"/>
          </ac:picMkLst>
        </pc:picChg>
        <pc:picChg chg="add mod">
          <ac:chgData name="Dwayne Natwick" userId="d11f0013982d5c78" providerId="Windows Live" clId="Web-{AF7E15B6-46DF-4A93-812A-0A1DF0046D2D}" dt="2023-09-12T18:02:20.957" v="477" actId="1076"/>
          <ac:picMkLst>
            <pc:docMk/>
            <pc:sldMk cId="1619709891" sldId="2147470596"/>
            <ac:picMk id="5" creationId="{B91B4004-1918-A295-B3E4-6E2F659B7B18}"/>
          </ac:picMkLst>
        </pc:picChg>
        <pc:picChg chg="add mod">
          <ac:chgData name="Dwayne Natwick" userId="d11f0013982d5c78" providerId="Windows Live" clId="Web-{AF7E15B6-46DF-4A93-812A-0A1DF0046D2D}" dt="2023-09-12T18:02:23.566" v="479" actId="1076"/>
          <ac:picMkLst>
            <pc:docMk/>
            <pc:sldMk cId="1619709891" sldId="2147470596"/>
            <ac:picMk id="6" creationId="{C0F4C352-6777-1D9E-1226-66234D0C47DB}"/>
          </ac:picMkLst>
        </pc:picChg>
      </pc:sldChg>
      <pc:sldChg chg="addSp modSp add mod replId modClrScheme chgLayout">
        <pc:chgData name="Dwayne Natwick" userId="d11f0013982d5c78" providerId="Windows Live" clId="Web-{AF7E15B6-46DF-4A93-812A-0A1DF0046D2D}" dt="2023-09-12T18:06:07.871" v="617" actId="20577"/>
        <pc:sldMkLst>
          <pc:docMk/>
          <pc:sldMk cId="3056138002" sldId="2147470597"/>
        </pc:sldMkLst>
        <pc:spChg chg="mod">
          <ac:chgData name="Dwayne Natwick" userId="d11f0013982d5c78" providerId="Windows Live" clId="Web-{AF7E15B6-46DF-4A93-812A-0A1DF0046D2D}" dt="2023-09-12T18:05:03.181" v="582" actId="20577"/>
          <ac:spMkLst>
            <pc:docMk/>
            <pc:sldMk cId="3056138002" sldId="2147470597"/>
            <ac:spMk id="2" creationId="{C83B6E44-5BA6-5E05-4F62-06C1C1B4745F}"/>
          </ac:spMkLst>
        </pc:spChg>
        <pc:spChg chg="mod ord">
          <ac:chgData name="Dwayne Natwick" userId="d11f0013982d5c78" providerId="Windows Live" clId="Web-{AF7E15B6-46DF-4A93-812A-0A1DF0046D2D}" dt="2023-09-12T18:06:07.871" v="617" actId="20577"/>
          <ac:spMkLst>
            <pc:docMk/>
            <pc:sldMk cId="3056138002" sldId="2147470597"/>
            <ac:spMk id="3" creationId="{F8D78B17-9AC1-3773-F5A7-05FB325AB696}"/>
          </ac:spMkLst>
        </pc:spChg>
        <pc:picChg chg="add mod">
          <ac:chgData name="Dwayne Natwick" userId="d11f0013982d5c78" providerId="Windows Live" clId="Web-{AF7E15B6-46DF-4A93-812A-0A1DF0046D2D}" dt="2023-09-12T18:04:24.086" v="557"/>
          <ac:picMkLst>
            <pc:docMk/>
            <pc:sldMk cId="3056138002" sldId="2147470597"/>
            <ac:picMk id="4" creationId="{3C834E98-F6CA-66D9-C28E-92924765C16D}"/>
          </ac:picMkLst>
        </pc:picChg>
      </pc:sldChg>
      <pc:sldChg chg="addSp delSp modSp add replId modNotes">
        <pc:chgData name="Dwayne Natwick" userId="d11f0013982d5c78" providerId="Windows Live" clId="Web-{AF7E15B6-46DF-4A93-812A-0A1DF0046D2D}" dt="2023-09-12T18:08:57.267" v="684"/>
        <pc:sldMkLst>
          <pc:docMk/>
          <pc:sldMk cId="1103145275" sldId="2147470598"/>
        </pc:sldMkLst>
        <pc:spChg chg="mod">
          <ac:chgData name="Dwayne Natwick" userId="d11f0013982d5c78" providerId="Windows Live" clId="Web-{AF7E15B6-46DF-4A93-812A-0A1DF0046D2D}" dt="2023-09-12T18:05:26.041" v="595" actId="20577"/>
          <ac:spMkLst>
            <pc:docMk/>
            <pc:sldMk cId="1103145275" sldId="2147470598"/>
            <ac:spMk id="2" creationId="{C83B6E44-5BA6-5E05-4F62-06C1C1B4745F}"/>
          </ac:spMkLst>
        </pc:spChg>
        <pc:spChg chg="mod">
          <ac:chgData name="Dwayne Natwick" userId="d11f0013982d5c78" providerId="Windows Live" clId="Web-{AF7E15B6-46DF-4A93-812A-0A1DF0046D2D}" dt="2023-09-12T18:08:54.236" v="683" actId="20577"/>
          <ac:spMkLst>
            <pc:docMk/>
            <pc:sldMk cId="1103145275" sldId="2147470598"/>
            <ac:spMk id="3" creationId="{F8D78B17-9AC1-3773-F5A7-05FB325AB696}"/>
          </ac:spMkLst>
        </pc:spChg>
        <pc:picChg chg="del">
          <ac:chgData name="Dwayne Natwick" userId="d11f0013982d5c78" providerId="Windows Live" clId="Web-{AF7E15B6-46DF-4A93-812A-0A1DF0046D2D}" dt="2023-09-12T18:04:36.164" v="559"/>
          <ac:picMkLst>
            <pc:docMk/>
            <pc:sldMk cId="1103145275" sldId="2147470598"/>
            <ac:picMk id="4" creationId="{3C834E98-F6CA-66D9-C28E-92924765C16D}"/>
          </ac:picMkLst>
        </pc:picChg>
        <pc:picChg chg="add mod">
          <ac:chgData name="Dwayne Natwick" userId="d11f0013982d5c78" providerId="Windows Live" clId="Web-{AF7E15B6-46DF-4A93-812A-0A1DF0046D2D}" dt="2023-09-12T18:04:45.212" v="561"/>
          <ac:picMkLst>
            <pc:docMk/>
            <pc:sldMk cId="1103145275" sldId="2147470598"/>
            <ac:picMk id="5" creationId="{ACE3BBAE-9A18-5700-CE4F-E826C7A13EC8}"/>
          </ac:picMkLst>
        </pc:picChg>
      </pc:sldChg>
      <pc:sldChg chg="addSp delSp modSp add mod replId modClrScheme chgLayout">
        <pc:chgData name="Dwayne Natwick" userId="d11f0013982d5c78" providerId="Windows Live" clId="Web-{AF7E15B6-46DF-4A93-812A-0A1DF0046D2D}" dt="2023-09-12T18:34:20.134" v="1759"/>
        <pc:sldMkLst>
          <pc:docMk/>
          <pc:sldMk cId="2015539757" sldId="2147470599"/>
        </pc:sldMkLst>
        <pc:spChg chg="mod ord">
          <ac:chgData name="Dwayne Natwick" userId="d11f0013982d5c78" providerId="Windows Live" clId="Web-{AF7E15B6-46DF-4A93-812A-0A1DF0046D2D}" dt="2023-09-12T18:34:20.134" v="1759"/>
          <ac:spMkLst>
            <pc:docMk/>
            <pc:sldMk cId="2015539757" sldId="2147470599"/>
            <ac:spMk id="2" creationId="{8839F5C4-843E-DBAD-044B-1872C9832914}"/>
          </ac:spMkLst>
        </pc:spChg>
        <pc:spChg chg="del">
          <ac:chgData name="Dwayne Natwick" userId="d11f0013982d5c78" providerId="Windows Live" clId="Web-{AF7E15B6-46DF-4A93-812A-0A1DF0046D2D}" dt="2023-09-12T18:16:47.456" v="1066"/>
          <ac:spMkLst>
            <pc:docMk/>
            <pc:sldMk cId="2015539757" sldId="2147470599"/>
            <ac:spMk id="5" creationId="{9B72B5EA-96E2-7E6D-1C22-B026EF08D973}"/>
          </ac:spMkLst>
        </pc:spChg>
        <pc:spChg chg="del mod ord">
          <ac:chgData name="Dwayne Natwick" userId="d11f0013982d5c78" providerId="Windows Live" clId="Web-{AF7E15B6-46DF-4A93-812A-0A1DF0046D2D}" dt="2023-09-12T18:34:20.134" v="1759"/>
          <ac:spMkLst>
            <pc:docMk/>
            <pc:sldMk cId="2015539757" sldId="2147470599"/>
            <ac:spMk id="9" creationId="{7239C8F0-B9DF-87A5-21C6-7F2244DB4517}"/>
          </ac:spMkLst>
        </pc:spChg>
        <pc:graphicFrameChg chg="add">
          <ac:chgData name="Dwayne Natwick" userId="d11f0013982d5c78" providerId="Windows Live" clId="Web-{AF7E15B6-46DF-4A93-812A-0A1DF0046D2D}" dt="2023-09-12T18:34:20.134" v="1759"/>
          <ac:graphicFrameMkLst>
            <pc:docMk/>
            <pc:sldMk cId="2015539757" sldId="2147470599"/>
            <ac:graphicFrameMk id="11" creationId="{6281DC71-4E38-C0BA-1574-1BD154A67139}"/>
          </ac:graphicFrameMkLst>
        </pc:graphicFrameChg>
      </pc:sldChg>
      <pc:sldChg chg="delSp modSp new mod modClrScheme chgLayout modNotes">
        <pc:chgData name="Dwayne Natwick" userId="d11f0013982d5c78" providerId="Windows Live" clId="Web-{AF7E15B6-46DF-4A93-812A-0A1DF0046D2D}" dt="2023-09-12T18:17:08.003" v="1077" actId="20577"/>
        <pc:sldMkLst>
          <pc:docMk/>
          <pc:sldMk cId="917890403" sldId="2147470600"/>
        </pc:sldMkLst>
        <pc:spChg chg="mod ord">
          <ac:chgData name="Dwayne Natwick" userId="d11f0013982d5c78" providerId="Windows Live" clId="Web-{AF7E15B6-46DF-4A93-812A-0A1DF0046D2D}" dt="2023-09-12T18:17:08.003" v="1077" actId="20577"/>
          <ac:spMkLst>
            <pc:docMk/>
            <pc:sldMk cId="917890403" sldId="2147470600"/>
            <ac:spMk id="2" creationId="{87B48A8C-DD2D-E0F4-C077-DDC5365DC9E8}"/>
          </ac:spMkLst>
        </pc:spChg>
        <pc:spChg chg="mod ord">
          <ac:chgData name="Dwayne Natwick" userId="d11f0013982d5c78" providerId="Windows Live" clId="Web-{AF7E15B6-46DF-4A93-812A-0A1DF0046D2D}" dt="2023-09-12T18:16:41.268" v="1065" actId="20577"/>
          <ac:spMkLst>
            <pc:docMk/>
            <pc:sldMk cId="917890403" sldId="2147470600"/>
            <ac:spMk id="3" creationId="{DDB7FF23-C1F3-ECC1-8CF4-0F54F4733DD3}"/>
          </ac:spMkLst>
        </pc:spChg>
        <pc:spChg chg="del">
          <ac:chgData name="Dwayne Natwick" userId="d11f0013982d5c78" providerId="Windows Live" clId="Web-{AF7E15B6-46DF-4A93-812A-0A1DF0046D2D}" dt="2023-09-12T18:14:55.999" v="998"/>
          <ac:spMkLst>
            <pc:docMk/>
            <pc:sldMk cId="917890403" sldId="2147470600"/>
            <ac:spMk id="4" creationId="{C89B4CB5-582F-97E0-6168-3B47693006C0}"/>
          </ac:spMkLst>
        </pc:spChg>
      </pc:sldChg>
      <pc:sldChg chg="modSp add replId modNotes">
        <pc:chgData name="Dwayne Natwick" userId="d11f0013982d5c78" providerId="Windows Live" clId="Web-{AF7E15B6-46DF-4A93-812A-0A1DF0046D2D}" dt="2023-09-12T18:18:22.772" v="1090"/>
        <pc:sldMkLst>
          <pc:docMk/>
          <pc:sldMk cId="2983617397" sldId="2147470601"/>
        </pc:sldMkLst>
        <pc:spChg chg="mod">
          <ac:chgData name="Dwayne Natwick" userId="d11f0013982d5c78" providerId="Windows Live" clId="Web-{AF7E15B6-46DF-4A93-812A-0A1DF0046D2D}" dt="2023-09-12T18:17:38.083" v="1087" actId="20577"/>
          <ac:spMkLst>
            <pc:docMk/>
            <pc:sldMk cId="2983617397" sldId="2147470601"/>
            <ac:spMk id="2" creationId="{87B48A8C-DD2D-E0F4-C077-DDC5365DC9E8}"/>
          </ac:spMkLst>
        </pc:spChg>
      </pc:sldChg>
      <pc:sldChg chg="modSp new modNotes">
        <pc:chgData name="Dwayne Natwick" userId="d11f0013982d5c78" providerId="Windows Live" clId="Web-{AF7E15B6-46DF-4A93-812A-0A1DF0046D2D}" dt="2023-09-12T18:25:27.302" v="1354" actId="20577"/>
        <pc:sldMkLst>
          <pc:docMk/>
          <pc:sldMk cId="1171446039" sldId="2147470602"/>
        </pc:sldMkLst>
        <pc:spChg chg="mod">
          <ac:chgData name="Dwayne Natwick" userId="d11f0013982d5c78" providerId="Windows Live" clId="Web-{AF7E15B6-46DF-4A93-812A-0A1DF0046D2D}" dt="2023-09-12T18:22:20.843" v="1200" actId="20577"/>
          <ac:spMkLst>
            <pc:docMk/>
            <pc:sldMk cId="1171446039" sldId="2147470602"/>
            <ac:spMk id="2" creationId="{64AB2EE4-07A0-D158-D22F-B55E61E4F006}"/>
          </ac:spMkLst>
        </pc:spChg>
        <pc:spChg chg="mod">
          <ac:chgData name="Dwayne Natwick" userId="d11f0013982d5c78" providerId="Windows Live" clId="Web-{AF7E15B6-46DF-4A93-812A-0A1DF0046D2D}" dt="2023-09-12T18:25:27.302" v="1354" actId="20577"/>
          <ac:spMkLst>
            <pc:docMk/>
            <pc:sldMk cId="1171446039" sldId="2147470602"/>
            <ac:spMk id="3" creationId="{85C97FA8-BE0A-E10E-33B0-9E19F185EBA4}"/>
          </ac:spMkLst>
        </pc:spChg>
      </pc:sldChg>
      <pc:sldChg chg="delSp modSp new mod modClrScheme chgLayout">
        <pc:chgData name="Dwayne Natwick" userId="d11f0013982d5c78" providerId="Windows Live" clId="Web-{AF7E15B6-46DF-4A93-812A-0A1DF0046D2D}" dt="2023-09-12T18:37:19.390" v="1775" actId="20577"/>
        <pc:sldMkLst>
          <pc:docMk/>
          <pc:sldMk cId="818381816" sldId="2147470603"/>
        </pc:sldMkLst>
        <pc:spChg chg="mod ord">
          <ac:chgData name="Dwayne Natwick" userId="d11f0013982d5c78" providerId="Windows Live" clId="Web-{AF7E15B6-46DF-4A93-812A-0A1DF0046D2D}" dt="2023-09-12T18:37:19.390" v="1775" actId="20577"/>
          <ac:spMkLst>
            <pc:docMk/>
            <pc:sldMk cId="818381816" sldId="2147470603"/>
            <ac:spMk id="2" creationId="{405A5204-DC92-084D-2C0F-8862EE432163}"/>
          </ac:spMkLst>
        </pc:spChg>
        <pc:spChg chg="del">
          <ac:chgData name="Dwayne Natwick" userId="d11f0013982d5c78" providerId="Windows Live" clId="Web-{AF7E15B6-46DF-4A93-812A-0A1DF0046D2D}" dt="2023-09-12T18:36:57.530" v="1764"/>
          <ac:spMkLst>
            <pc:docMk/>
            <pc:sldMk cId="818381816" sldId="2147470603"/>
            <ac:spMk id="3" creationId="{BEB97284-EFA1-C21C-E2A4-933CE9322F7D}"/>
          </ac:spMkLst>
        </pc:spChg>
      </pc:sldChg>
      <pc:sldChg chg="modSp add replId">
        <pc:chgData name="Dwayne Natwick" userId="d11f0013982d5c78" providerId="Windows Live" clId="Web-{AF7E15B6-46DF-4A93-812A-0A1DF0046D2D}" dt="2023-09-12T18:38:10.080" v="1790" actId="20577"/>
        <pc:sldMkLst>
          <pc:docMk/>
          <pc:sldMk cId="1742974702" sldId="2147470604"/>
        </pc:sldMkLst>
        <pc:spChg chg="mod">
          <ac:chgData name="Dwayne Natwick" userId="d11f0013982d5c78" providerId="Windows Live" clId="Web-{AF7E15B6-46DF-4A93-812A-0A1DF0046D2D}" dt="2023-09-12T18:38:10.080" v="1790" actId="20577"/>
          <ac:spMkLst>
            <pc:docMk/>
            <pc:sldMk cId="1742974702" sldId="2147470604"/>
            <ac:spMk id="3" creationId="{85C97FA8-BE0A-E10E-33B0-9E19F185EBA4}"/>
          </ac:spMkLst>
        </pc:spChg>
      </pc:sldChg>
      <pc:sldChg chg="modSp add replId">
        <pc:chgData name="Dwayne Natwick" userId="d11f0013982d5c78" providerId="Windows Live" clId="Web-{AF7E15B6-46DF-4A93-812A-0A1DF0046D2D}" dt="2023-09-12T18:37:59.407" v="1784" actId="20577"/>
        <pc:sldMkLst>
          <pc:docMk/>
          <pc:sldMk cId="1637472956" sldId="2147470605"/>
        </pc:sldMkLst>
        <pc:spChg chg="mod">
          <ac:chgData name="Dwayne Natwick" userId="d11f0013982d5c78" providerId="Windows Live" clId="Web-{AF7E15B6-46DF-4A93-812A-0A1DF0046D2D}" dt="2023-09-12T18:37:59.407" v="1784" actId="20577"/>
          <ac:spMkLst>
            <pc:docMk/>
            <pc:sldMk cId="1637472956" sldId="2147470605"/>
            <ac:spMk id="3" creationId="{DDB7FF23-C1F3-ECC1-8CF4-0F54F4733DD3}"/>
          </ac:spMkLst>
        </pc:spChg>
      </pc:sldChg>
      <pc:sldChg chg="modSp add replId">
        <pc:chgData name="Dwayne Natwick" userId="d11f0013982d5c78" providerId="Windows Live" clId="Web-{AF7E15B6-46DF-4A93-812A-0A1DF0046D2D}" dt="2023-09-12T18:37:54.157" v="1781" actId="20577"/>
        <pc:sldMkLst>
          <pc:docMk/>
          <pc:sldMk cId="3543320482" sldId="2147470606"/>
        </pc:sldMkLst>
        <pc:spChg chg="mod">
          <ac:chgData name="Dwayne Natwick" userId="d11f0013982d5c78" providerId="Windows Live" clId="Web-{AF7E15B6-46DF-4A93-812A-0A1DF0046D2D}" dt="2023-09-12T18:37:54.157" v="1781" actId="20577"/>
          <ac:spMkLst>
            <pc:docMk/>
            <pc:sldMk cId="3543320482" sldId="2147470606"/>
            <ac:spMk id="3" creationId="{DDB7FF23-C1F3-ECC1-8CF4-0F54F4733DD3}"/>
          </ac:spMkLst>
        </pc:spChg>
      </pc:sldChg>
    </pc:docChg>
  </pc:docChgLst>
  <pc:docChgLst>
    <pc:chgData name="Dwayne Natwick" userId="d11f0013982d5c78" providerId="Windows Live" clId="Web-{EB2C8990-FC67-4923-BE6B-3A97BC210081}"/>
    <pc:docChg chg="delSld modSld">
      <pc:chgData name="Dwayne Natwick" userId="d11f0013982d5c78" providerId="Windows Live" clId="Web-{EB2C8990-FC67-4923-BE6B-3A97BC210081}" dt="2023-09-12T18:46:49.014" v="37" actId="20577"/>
      <pc:docMkLst>
        <pc:docMk/>
      </pc:docMkLst>
      <pc:sldChg chg="del">
        <pc:chgData name="Dwayne Natwick" userId="d11f0013982d5c78" providerId="Windows Live" clId="Web-{EB2C8990-FC67-4923-BE6B-3A97BC210081}" dt="2023-09-12T18:46:21.576" v="18"/>
        <pc:sldMkLst>
          <pc:docMk/>
          <pc:sldMk cId="3164376787" sldId="2076137029"/>
        </pc:sldMkLst>
      </pc:sldChg>
      <pc:sldChg chg="del">
        <pc:chgData name="Dwayne Natwick" userId="d11f0013982d5c78" providerId="Windows Live" clId="Web-{EB2C8990-FC67-4923-BE6B-3A97BC210081}" dt="2023-09-12T18:46:35.170" v="21"/>
        <pc:sldMkLst>
          <pc:docMk/>
          <pc:sldMk cId="2024722602" sldId="2145705724"/>
        </pc:sldMkLst>
      </pc:sldChg>
      <pc:sldChg chg="del">
        <pc:chgData name="Dwayne Natwick" userId="d11f0013982d5c78" providerId="Windows Live" clId="Web-{EB2C8990-FC67-4923-BE6B-3A97BC210081}" dt="2023-09-12T18:46:35.170" v="20"/>
        <pc:sldMkLst>
          <pc:docMk/>
          <pc:sldMk cId="682611613" sldId="2147470555"/>
        </pc:sldMkLst>
      </pc:sldChg>
      <pc:sldChg chg="del">
        <pc:chgData name="Dwayne Natwick" userId="d11f0013982d5c78" providerId="Windows Live" clId="Web-{EB2C8990-FC67-4923-BE6B-3A97BC210081}" dt="2023-09-12T18:46:35.170" v="22"/>
        <pc:sldMkLst>
          <pc:docMk/>
          <pc:sldMk cId="1307574574" sldId="2147470566"/>
        </pc:sldMkLst>
      </pc:sldChg>
      <pc:sldChg chg="del">
        <pc:chgData name="Dwayne Natwick" userId="d11f0013982d5c78" providerId="Windows Live" clId="Web-{EB2C8990-FC67-4923-BE6B-3A97BC210081}" dt="2023-09-12T18:46:21.576" v="19"/>
        <pc:sldMkLst>
          <pc:docMk/>
          <pc:sldMk cId="2251723249" sldId="2147470571"/>
        </pc:sldMkLst>
      </pc:sldChg>
      <pc:sldChg chg="del">
        <pc:chgData name="Dwayne Natwick" userId="d11f0013982d5c78" providerId="Windows Live" clId="Web-{EB2C8990-FC67-4923-BE6B-3A97BC210081}" dt="2023-09-12T18:46:35.170" v="24"/>
        <pc:sldMkLst>
          <pc:docMk/>
          <pc:sldMk cId="1259147145" sldId="2147470572"/>
        </pc:sldMkLst>
      </pc:sldChg>
      <pc:sldChg chg="del">
        <pc:chgData name="Dwayne Natwick" userId="d11f0013982d5c78" providerId="Windows Live" clId="Web-{EB2C8990-FC67-4923-BE6B-3A97BC210081}" dt="2023-09-12T18:46:35.170" v="23"/>
        <pc:sldMkLst>
          <pc:docMk/>
          <pc:sldMk cId="3861986293" sldId="2147470583"/>
        </pc:sldMkLst>
      </pc:sldChg>
      <pc:sldChg chg="modSp">
        <pc:chgData name="Dwayne Natwick" userId="d11f0013982d5c78" providerId="Windows Live" clId="Web-{EB2C8990-FC67-4923-BE6B-3A97BC210081}" dt="2023-09-12T18:46:49.014" v="37" actId="20577"/>
        <pc:sldMkLst>
          <pc:docMk/>
          <pc:sldMk cId="818381816" sldId="2147470603"/>
        </pc:sldMkLst>
        <pc:spChg chg="mod">
          <ac:chgData name="Dwayne Natwick" userId="d11f0013982d5c78" providerId="Windows Live" clId="Web-{EB2C8990-FC67-4923-BE6B-3A97BC210081}" dt="2023-09-12T18:46:49.014" v="37" actId="20577"/>
          <ac:spMkLst>
            <pc:docMk/>
            <pc:sldMk cId="818381816" sldId="2147470603"/>
            <ac:spMk id="2" creationId="{405A5204-DC92-084D-2C0F-8862EE432163}"/>
          </ac:spMkLst>
        </pc:spChg>
      </pc:sldChg>
      <pc:sldChg chg="modSp">
        <pc:chgData name="Dwayne Natwick" userId="d11f0013982d5c78" providerId="Windows Live" clId="Web-{EB2C8990-FC67-4923-BE6B-3A97BC210081}" dt="2023-09-12T18:46:09.873" v="17" actId="20577"/>
        <pc:sldMkLst>
          <pc:docMk/>
          <pc:sldMk cId="1742974702" sldId="2147470604"/>
        </pc:sldMkLst>
        <pc:spChg chg="mod">
          <ac:chgData name="Dwayne Natwick" userId="d11f0013982d5c78" providerId="Windows Live" clId="Web-{EB2C8990-FC67-4923-BE6B-3A97BC210081}" dt="2023-09-12T18:46:09.873" v="17" actId="20577"/>
          <ac:spMkLst>
            <pc:docMk/>
            <pc:sldMk cId="1742974702" sldId="2147470604"/>
            <ac:spMk id="3" creationId="{85C97FA8-BE0A-E10E-33B0-9E19F185EBA4}"/>
          </ac:spMkLst>
        </pc:spChg>
      </pc:sldChg>
      <pc:sldChg chg="modSp">
        <pc:chgData name="Dwayne Natwick" userId="d11f0013982d5c78" providerId="Windows Live" clId="Web-{EB2C8990-FC67-4923-BE6B-3A97BC210081}" dt="2023-09-12T18:46:02.169" v="9" actId="20577"/>
        <pc:sldMkLst>
          <pc:docMk/>
          <pc:sldMk cId="1637472956" sldId="2147470605"/>
        </pc:sldMkLst>
        <pc:spChg chg="mod">
          <ac:chgData name="Dwayne Natwick" userId="d11f0013982d5c78" providerId="Windows Live" clId="Web-{EB2C8990-FC67-4923-BE6B-3A97BC210081}" dt="2023-09-12T18:46:02.169" v="9" actId="20577"/>
          <ac:spMkLst>
            <pc:docMk/>
            <pc:sldMk cId="1637472956" sldId="2147470605"/>
            <ac:spMk id="3" creationId="{DDB7FF23-C1F3-ECC1-8CF4-0F54F4733DD3}"/>
          </ac:spMkLst>
        </pc:spChg>
      </pc:sldChg>
      <pc:sldChg chg="modSp">
        <pc:chgData name="Dwayne Natwick" userId="d11f0013982d5c78" providerId="Windows Live" clId="Web-{EB2C8990-FC67-4923-BE6B-3A97BC210081}" dt="2023-09-12T18:46:06.045" v="13" actId="20577"/>
        <pc:sldMkLst>
          <pc:docMk/>
          <pc:sldMk cId="3543320482" sldId="2147470606"/>
        </pc:sldMkLst>
        <pc:spChg chg="mod">
          <ac:chgData name="Dwayne Natwick" userId="d11f0013982d5c78" providerId="Windows Live" clId="Web-{EB2C8990-FC67-4923-BE6B-3A97BC210081}" dt="2023-09-12T18:46:06.045" v="13" actId="20577"/>
          <ac:spMkLst>
            <pc:docMk/>
            <pc:sldMk cId="3543320482" sldId="2147470606"/>
            <ac:spMk id="3" creationId="{DDB7FF23-C1F3-ECC1-8CF4-0F54F4733DD3}"/>
          </ac:spMkLst>
        </pc:spChg>
      </pc:sldChg>
    </pc:docChg>
  </pc:docChgLst>
  <pc:docChgLst>
    <pc:chgData name="Dwayne Natwick" userId="d11f0013982d5c78" providerId="Windows Live" clId="Web-{B6FDFF27-C467-4918-AC10-A036B07F40B2}"/>
    <pc:docChg chg="addSld modSld">
      <pc:chgData name="Dwayne Natwick" userId="d11f0013982d5c78" providerId="Windows Live" clId="Web-{B6FDFF27-C467-4918-AC10-A036B07F40B2}" dt="2023-09-11T17:59:58.248" v="945" actId="20577"/>
      <pc:docMkLst>
        <pc:docMk/>
      </pc:docMkLst>
      <pc:sldChg chg="modSp">
        <pc:chgData name="Dwayne Natwick" userId="d11f0013982d5c78" providerId="Windows Live" clId="Web-{B6FDFF27-C467-4918-AC10-A036B07F40B2}" dt="2023-09-11T17:30:44.090" v="244" actId="20577"/>
        <pc:sldMkLst>
          <pc:docMk/>
          <pc:sldMk cId="948136224" sldId="2147470573"/>
        </pc:sldMkLst>
        <pc:spChg chg="mod">
          <ac:chgData name="Dwayne Natwick" userId="d11f0013982d5c78" providerId="Windows Live" clId="Web-{B6FDFF27-C467-4918-AC10-A036B07F40B2}" dt="2023-09-11T17:30:44.090" v="244" actId="20577"/>
          <ac:spMkLst>
            <pc:docMk/>
            <pc:sldMk cId="948136224" sldId="2147470573"/>
            <ac:spMk id="3" creationId="{8810F879-0D52-6206-A283-CE7E0B7E3C5D}"/>
          </ac:spMkLst>
        </pc:spChg>
      </pc:sldChg>
      <pc:sldChg chg="modSp">
        <pc:chgData name="Dwayne Natwick" userId="d11f0013982d5c78" providerId="Windows Live" clId="Web-{B6FDFF27-C467-4918-AC10-A036B07F40B2}" dt="2023-09-11T17:55:12.490" v="867" actId="20577"/>
        <pc:sldMkLst>
          <pc:docMk/>
          <pc:sldMk cId="2030514790" sldId="2147470574"/>
        </pc:sldMkLst>
        <pc:spChg chg="mod">
          <ac:chgData name="Dwayne Natwick" userId="d11f0013982d5c78" providerId="Windows Live" clId="Web-{B6FDFF27-C467-4918-AC10-A036B07F40B2}" dt="2023-09-11T17:55:12.490" v="867" actId="20577"/>
          <ac:spMkLst>
            <pc:docMk/>
            <pc:sldMk cId="2030514790" sldId="2147470574"/>
            <ac:spMk id="3" creationId="{8810F879-0D52-6206-A283-CE7E0B7E3C5D}"/>
          </ac:spMkLst>
        </pc:spChg>
      </pc:sldChg>
      <pc:sldChg chg="modSp add replId">
        <pc:chgData name="Dwayne Natwick" userId="d11f0013982d5c78" providerId="Windows Live" clId="Web-{B6FDFF27-C467-4918-AC10-A036B07F40B2}" dt="2023-09-11T17:34:17.127" v="387" actId="20577"/>
        <pc:sldMkLst>
          <pc:docMk/>
          <pc:sldMk cId="3386646133" sldId="2147470584"/>
        </pc:sldMkLst>
        <pc:spChg chg="mod">
          <ac:chgData name="Dwayne Natwick" userId="d11f0013982d5c78" providerId="Windows Live" clId="Web-{B6FDFF27-C467-4918-AC10-A036B07F40B2}" dt="2023-09-11T17:26:42.255" v="55" actId="20577"/>
          <ac:spMkLst>
            <pc:docMk/>
            <pc:sldMk cId="3386646133" sldId="2147470584"/>
            <ac:spMk id="2" creationId="{9818A146-7202-24EA-7B4D-99C422D5DB3F}"/>
          </ac:spMkLst>
        </pc:spChg>
        <pc:spChg chg="mod">
          <ac:chgData name="Dwayne Natwick" userId="d11f0013982d5c78" providerId="Windows Live" clId="Web-{B6FDFF27-C467-4918-AC10-A036B07F40B2}" dt="2023-09-11T17:34:17.127" v="387" actId="20577"/>
          <ac:spMkLst>
            <pc:docMk/>
            <pc:sldMk cId="3386646133" sldId="2147470584"/>
            <ac:spMk id="3" creationId="{8810F879-0D52-6206-A283-CE7E0B7E3C5D}"/>
          </ac:spMkLst>
        </pc:spChg>
      </pc:sldChg>
      <pc:sldChg chg="addSp modSp add mod replId modClrScheme chgLayout">
        <pc:chgData name="Dwayne Natwick" userId="d11f0013982d5c78" providerId="Windows Live" clId="Web-{B6FDFF27-C467-4918-AC10-A036B07F40B2}" dt="2023-09-11T17:34:36.471" v="389"/>
        <pc:sldMkLst>
          <pc:docMk/>
          <pc:sldMk cId="3650723693" sldId="2147470585"/>
        </pc:sldMkLst>
        <pc:spChg chg="mod">
          <ac:chgData name="Dwayne Natwick" userId="d11f0013982d5c78" providerId="Windows Live" clId="Web-{B6FDFF27-C467-4918-AC10-A036B07F40B2}" dt="2023-09-11T17:34:36.471" v="389"/>
          <ac:spMkLst>
            <pc:docMk/>
            <pc:sldMk cId="3650723693" sldId="2147470585"/>
            <ac:spMk id="2" creationId="{9818A146-7202-24EA-7B4D-99C422D5DB3F}"/>
          </ac:spMkLst>
        </pc:spChg>
        <pc:spChg chg="mod">
          <ac:chgData name="Dwayne Natwick" userId="d11f0013982d5c78" providerId="Windows Live" clId="Web-{B6FDFF27-C467-4918-AC10-A036B07F40B2}" dt="2023-09-11T17:34:36.471" v="389"/>
          <ac:spMkLst>
            <pc:docMk/>
            <pc:sldMk cId="3650723693" sldId="2147470585"/>
            <ac:spMk id="3" creationId="{8810F879-0D52-6206-A283-CE7E0B7E3C5D}"/>
          </ac:spMkLst>
        </pc:spChg>
        <pc:picChg chg="add mod">
          <ac:chgData name="Dwayne Natwick" userId="d11f0013982d5c78" providerId="Windows Live" clId="Web-{B6FDFF27-C467-4918-AC10-A036B07F40B2}" dt="2023-09-11T17:34:36.471" v="389"/>
          <ac:picMkLst>
            <pc:docMk/>
            <pc:sldMk cId="3650723693" sldId="2147470585"/>
            <ac:picMk id="4" creationId="{D255A024-B4AB-FD84-D159-4DDF08A8F07D}"/>
          </ac:picMkLst>
        </pc:picChg>
      </pc:sldChg>
      <pc:sldChg chg="delSp modSp new mod modClrScheme chgLayout">
        <pc:chgData name="Dwayne Natwick" userId="d11f0013982d5c78" providerId="Windows Live" clId="Web-{B6FDFF27-C467-4918-AC10-A036B07F40B2}" dt="2023-09-11T17:40:10.605" v="539" actId="20577"/>
        <pc:sldMkLst>
          <pc:docMk/>
          <pc:sldMk cId="694622249" sldId="2147470586"/>
        </pc:sldMkLst>
        <pc:spChg chg="mod ord">
          <ac:chgData name="Dwayne Natwick" userId="d11f0013982d5c78" providerId="Windows Live" clId="Web-{B6FDFF27-C467-4918-AC10-A036B07F40B2}" dt="2023-09-11T17:36:08.380" v="395" actId="20577"/>
          <ac:spMkLst>
            <pc:docMk/>
            <pc:sldMk cId="694622249" sldId="2147470586"/>
            <ac:spMk id="2" creationId="{4F03887C-60C2-A9BC-7D57-446E94505E95}"/>
          </ac:spMkLst>
        </pc:spChg>
        <pc:spChg chg="mod ord">
          <ac:chgData name="Dwayne Natwick" userId="d11f0013982d5c78" providerId="Windows Live" clId="Web-{B6FDFF27-C467-4918-AC10-A036B07F40B2}" dt="2023-09-11T17:40:10.605" v="539" actId="20577"/>
          <ac:spMkLst>
            <pc:docMk/>
            <pc:sldMk cId="694622249" sldId="2147470586"/>
            <ac:spMk id="3" creationId="{24D5E07E-8C99-3236-E329-322D38F9456F}"/>
          </ac:spMkLst>
        </pc:spChg>
        <pc:spChg chg="del">
          <ac:chgData name="Dwayne Natwick" userId="d11f0013982d5c78" providerId="Windows Live" clId="Web-{B6FDFF27-C467-4918-AC10-A036B07F40B2}" dt="2023-09-11T17:35:33.160" v="391"/>
          <ac:spMkLst>
            <pc:docMk/>
            <pc:sldMk cId="694622249" sldId="2147470586"/>
            <ac:spMk id="4" creationId="{F09E225B-934B-E629-4DAD-867FC73F5DA6}"/>
          </ac:spMkLst>
        </pc:spChg>
      </pc:sldChg>
      <pc:sldChg chg="modSp new">
        <pc:chgData name="Dwayne Natwick" userId="d11f0013982d5c78" providerId="Windows Live" clId="Web-{B6FDFF27-C467-4918-AC10-A036B07F40B2}" dt="2023-09-11T17:48:20.838" v="736" actId="20577"/>
        <pc:sldMkLst>
          <pc:docMk/>
          <pc:sldMk cId="347590927" sldId="2147470587"/>
        </pc:sldMkLst>
        <pc:spChg chg="mod">
          <ac:chgData name="Dwayne Natwick" userId="d11f0013982d5c78" providerId="Windows Live" clId="Web-{B6FDFF27-C467-4918-AC10-A036B07F40B2}" dt="2023-09-11T17:48:17.041" v="734" actId="20577"/>
          <ac:spMkLst>
            <pc:docMk/>
            <pc:sldMk cId="347590927" sldId="2147470587"/>
            <ac:spMk id="2" creationId="{49ED4149-7D80-DC24-D85C-E8F8E2138C6D}"/>
          </ac:spMkLst>
        </pc:spChg>
        <pc:spChg chg="mod">
          <ac:chgData name="Dwayne Natwick" userId="d11f0013982d5c78" providerId="Windows Live" clId="Web-{B6FDFF27-C467-4918-AC10-A036B07F40B2}" dt="2023-09-11T17:48:20.838" v="736" actId="20577"/>
          <ac:spMkLst>
            <pc:docMk/>
            <pc:sldMk cId="347590927" sldId="2147470587"/>
            <ac:spMk id="3" creationId="{9262B5ED-8454-F1E3-0143-C89092EF7A91}"/>
          </ac:spMkLst>
        </pc:spChg>
      </pc:sldChg>
      <pc:sldChg chg="modSp add replId">
        <pc:chgData name="Dwayne Natwick" userId="d11f0013982d5c78" providerId="Windows Live" clId="Web-{B6FDFF27-C467-4918-AC10-A036B07F40B2}" dt="2023-09-11T17:48:01.400" v="722" actId="20577"/>
        <pc:sldMkLst>
          <pc:docMk/>
          <pc:sldMk cId="2214484181" sldId="2147470588"/>
        </pc:sldMkLst>
        <pc:spChg chg="mod">
          <ac:chgData name="Dwayne Natwick" userId="d11f0013982d5c78" providerId="Windows Live" clId="Web-{B6FDFF27-C467-4918-AC10-A036B07F40B2}" dt="2023-09-11T17:48:01.400" v="722" actId="20577"/>
          <ac:spMkLst>
            <pc:docMk/>
            <pc:sldMk cId="2214484181" sldId="2147470588"/>
            <ac:spMk id="2" creationId="{49ED4149-7D80-DC24-D85C-E8F8E2138C6D}"/>
          </ac:spMkLst>
        </pc:spChg>
        <pc:spChg chg="mod">
          <ac:chgData name="Dwayne Natwick" userId="d11f0013982d5c78" providerId="Windows Live" clId="Web-{B6FDFF27-C467-4918-AC10-A036B07F40B2}" dt="2023-09-11T17:47:57.056" v="720" actId="20577"/>
          <ac:spMkLst>
            <pc:docMk/>
            <pc:sldMk cId="2214484181" sldId="2147470588"/>
            <ac:spMk id="3" creationId="{9262B5ED-8454-F1E3-0143-C89092EF7A91}"/>
          </ac:spMkLst>
        </pc:spChg>
      </pc:sldChg>
      <pc:sldChg chg="modSp add replId">
        <pc:chgData name="Dwayne Natwick" userId="d11f0013982d5c78" providerId="Windows Live" clId="Web-{B6FDFF27-C467-4918-AC10-A036B07F40B2}" dt="2023-09-11T17:50:08.013" v="754" actId="20577"/>
        <pc:sldMkLst>
          <pc:docMk/>
          <pc:sldMk cId="3716502182" sldId="2147470589"/>
        </pc:sldMkLst>
        <pc:spChg chg="mod">
          <ac:chgData name="Dwayne Natwick" userId="d11f0013982d5c78" providerId="Windows Live" clId="Web-{B6FDFF27-C467-4918-AC10-A036B07F40B2}" dt="2023-09-11T17:49:11.823" v="740" actId="20577"/>
          <ac:spMkLst>
            <pc:docMk/>
            <pc:sldMk cId="3716502182" sldId="2147470589"/>
            <ac:spMk id="2" creationId="{49ED4149-7D80-DC24-D85C-E8F8E2138C6D}"/>
          </ac:spMkLst>
        </pc:spChg>
        <pc:spChg chg="mod">
          <ac:chgData name="Dwayne Natwick" userId="d11f0013982d5c78" providerId="Windows Live" clId="Web-{B6FDFF27-C467-4918-AC10-A036B07F40B2}" dt="2023-09-11T17:50:08.013" v="754" actId="20577"/>
          <ac:spMkLst>
            <pc:docMk/>
            <pc:sldMk cId="3716502182" sldId="2147470589"/>
            <ac:spMk id="3" creationId="{9262B5ED-8454-F1E3-0143-C89092EF7A91}"/>
          </ac:spMkLst>
        </pc:spChg>
      </pc:sldChg>
      <pc:sldChg chg="modSp add replId">
        <pc:chgData name="Dwayne Natwick" userId="d11f0013982d5c78" providerId="Windows Live" clId="Web-{B6FDFF27-C467-4918-AC10-A036B07F40B2}" dt="2023-09-11T17:52:18.797" v="766" actId="20577"/>
        <pc:sldMkLst>
          <pc:docMk/>
          <pc:sldMk cId="836223342" sldId="2147470590"/>
        </pc:sldMkLst>
        <pc:spChg chg="mod">
          <ac:chgData name="Dwayne Natwick" userId="d11f0013982d5c78" providerId="Windows Live" clId="Web-{B6FDFF27-C467-4918-AC10-A036B07F40B2}" dt="2023-09-11T17:50:56.717" v="760" actId="20577"/>
          <ac:spMkLst>
            <pc:docMk/>
            <pc:sldMk cId="836223342" sldId="2147470590"/>
            <ac:spMk id="2" creationId="{49ED4149-7D80-DC24-D85C-E8F8E2138C6D}"/>
          </ac:spMkLst>
        </pc:spChg>
        <pc:spChg chg="mod">
          <ac:chgData name="Dwayne Natwick" userId="d11f0013982d5c78" providerId="Windows Live" clId="Web-{B6FDFF27-C467-4918-AC10-A036B07F40B2}" dt="2023-09-11T17:52:18.797" v="766" actId="20577"/>
          <ac:spMkLst>
            <pc:docMk/>
            <pc:sldMk cId="836223342" sldId="2147470590"/>
            <ac:spMk id="3" creationId="{9262B5ED-8454-F1E3-0143-C89092EF7A91}"/>
          </ac:spMkLst>
        </pc:spChg>
      </pc:sldChg>
      <pc:sldChg chg="addSp delSp modSp new mod modClrScheme chgLayout">
        <pc:chgData name="Dwayne Natwick" userId="d11f0013982d5c78" providerId="Windows Live" clId="Web-{B6FDFF27-C467-4918-AC10-A036B07F40B2}" dt="2023-09-11T17:59:58.248" v="945" actId="20577"/>
        <pc:sldMkLst>
          <pc:docMk/>
          <pc:sldMk cId="1568180102" sldId="2147470591"/>
        </pc:sldMkLst>
        <pc:spChg chg="del">
          <ac:chgData name="Dwayne Natwick" userId="d11f0013982d5c78" providerId="Windows Live" clId="Web-{B6FDFF27-C467-4918-AC10-A036B07F40B2}" dt="2023-09-11T17:56:04.444" v="870"/>
          <ac:spMkLst>
            <pc:docMk/>
            <pc:sldMk cId="1568180102" sldId="2147470591"/>
            <ac:spMk id="2" creationId="{0F18224B-46B5-B3C9-65BF-BEAA41FC24D6}"/>
          </ac:spMkLst>
        </pc:spChg>
        <pc:spChg chg="del">
          <ac:chgData name="Dwayne Natwick" userId="d11f0013982d5c78" providerId="Windows Live" clId="Web-{B6FDFF27-C467-4918-AC10-A036B07F40B2}" dt="2023-09-11T17:55:59.663" v="869"/>
          <ac:spMkLst>
            <pc:docMk/>
            <pc:sldMk cId="1568180102" sldId="2147470591"/>
            <ac:spMk id="3" creationId="{850D36D1-8A75-00EE-6EC9-AAD857FB6385}"/>
          </ac:spMkLst>
        </pc:spChg>
        <pc:spChg chg="add mod">
          <ac:chgData name="Dwayne Natwick" userId="d11f0013982d5c78" providerId="Windows Live" clId="Web-{B6FDFF27-C467-4918-AC10-A036B07F40B2}" dt="2023-09-11T17:56:27.039" v="878" actId="20577"/>
          <ac:spMkLst>
            <pc:docMk/>
            <pc:sldMk cId="1568180102" sldId="2147470591"/>
            <ac:spMk id="9" creationId="{5BF3AE4B-3EA7-75FF-18D7-548B95D8E1BA}"/>
          </ac:spMkLst>
        </pc:spChg>
        <pc:spChg chg="add mod">
          <ac:chgData name="Dwayne Natwick" userId="d11f0013982d5c78" providerId="Windows Live" clId="Web-{B6FDFF27-C467-4918-AC10-A036B07F40B2}" dt="2023-09-11T17:59:58.248" v="945" actId="20577"/>
          <ac:spMkLst>
            <pc:docMk/>
            <pc:sldMk cId="1568180102" sldId="2147470591"/>
            <ac:spMk id="11" creationId="{3B24F147-897F-D0FA-7F06-E54B8BFE774E}"/>
          </ac:spMkLst>
        </pc:spChg>
        <pc:picChg chg="add mod ord">
          <ac:chgData name="Dwayne Natwick" userId="d11f0013982d5c78" providerId="Windows Live" clId="Web-{B6FDFF27-C467-4918-AC10-A036B07F40B2}" dt="2023-09-11T17:56:13.429" v="872" actId="1076"/>
          <ac:picMkLst>
            <pc:docMk/>
            <pc:sldMk cId="1568180102" sldId="2147470591"/>
            <ac:picMk id="4" creationId="{DCF172A3-9D30-C3A8-50DE-0495D0872A8B}"/>
          </ac:picMkLst>
        </pc:picChg>
      </pc:sldChg>
    </pc:docChg>
  </pc:docChgLst>
  <pc:docChgLst>
    <pc:chgData name="Dwayne Natwick" userId="d11f0013982d5c78" providerId="Windows Live" clId="Web-{BADFC5F9-7469-4C33-B617-8367941D32AF}"/>
    <pc:docChg chg="addSld delSld modSld sldOrd">
      <pc:chgData name="Dwayne Natwick" userId="d11f0013982d5c78" providerId="Windows Live" clId="Web-{BADFC5F9-7469-4C33-B617-8367941D32AF}" dt="2023-09-07T18:49:40.953" v="1795"/>
      <pc:docMkLst>
        <pc:docMk/>
      </pc:docMkLst>
      <pc:sldChg chg="del">
        <pc:chgData name="Dwayne Natwick" userId="d11f0013982d5c78" providerId="Windows Live" clId="Web-{BADFC5F9-7469-4C33-B617-8367941D32AF}" dt="2023-09-07T18:41:08.784" v="1557"/>
        <pc:sldMkLst>
          <pc:docMk/>
          <pc:sldMk cId="3253430385" sldId="2145705714"/>
        </pc:sldMkLst>
      </pc:sldChg>
      <pc:sldChg chg="del">
        <pc:chgData name="Dwayne Natwick" userId="d11f0013982d5c78" providerId="Windows Live" clId="Web-{BADFC5F9-7469-4C33-B617-8367941D32AF}" dt="2023-09-07T18:40:40.659" v="1555"/>
        <pc:sldMkLst>
          <pc:docMk/>
          <pc:sldMk cId="3175284616" sldId="2147469791"/>
        </pc:sldMkLst>
      </pc:sldChg>
      <pc:sldChg chg="modSp">
        <pc:chgData name="Dwayne Natwick" userId="d11f0013982d5c78" providerId="Windows Live" clId="Web-{BADFC5F9-7469-4C33-B617-8367941D32AF}" dt="2023-09-07T17:43:22.061" v="6" actId="20577"/>
        <pc:sldMkLst>
          <pc:docMk/>
          <pc:sldMk cId="19297968" sldId="2147470553"/>
        </pc:sldMkLst>
        <pc:spChg chg="mod">
          <ac:chgData name="Dwayne Natwick" userId="d11f0013982d5c78" providerId="Windows Live" clId="Web-{BADFC5F9-7469-4C33-B617-8367941D32AF}" dt="2023-09-07T17:43:22.061" v="6" actId="20577"/>
          <ac:spMkLst>
            <pc:docMk/>
            <pc:sldMk cId="19297968" sldId="2147470553"/>
            <ac:spMk id="2" creationId="{A1A8D485-FD33-2DA7-238E-EDF73027901B}"/>
          </ac:spMkLst>
        </pc:spChg>
      </pc:sldChg>
      <pc:sldChg chg="del">
        <pc:chgData name="Dwayne Natwick" userId="d11f0013982d5c78" providerId="Windows Live" clId="Web-{BADFC5F9-7469-4C33-B617-8367941D32AF}" dt="2023-09-07T18:40:50.487" v="1556"/>
        <pc:sldMkLst>
          <pc:docMk/>
          <pc:sldMk cId="2589529145" sldId="2147470556"/>
        </pc:sldMkLst>
      </pc:sldChg>
      <pc:sldChg chg="modSp add modNotes">
        <pc:chgData name="Dwayne Natwick" userId="d11f0013982d5c78" providerId="Windows Live" clId="Web-{BADFC5F9-7469-4C33-B617-8367941D32AF}" dt="2023-09-07T18:48:53.389" v="1790"/>
        <pc:sldMkLst>
          <pc:docMk/>
          <pc:sldMk cId="2945821040" sldId="2147470557"/>
        </pc:sldMkLst>
        <pc:spChg chg="mod">
          <ac:chgData name="Dwayne Natwick" userId="d11f0013982d5c78" providerId="Windows Live" clId="Web-{BADFC5F9-7469-4C33-B617-8367941D32AF}" dt="2023-09-07T17:47:59.864" v="55" actId="20577"/>
          <ac:spMkLst>
            <pc:docMk/>
            <pc:sldMk cId="2945821040" sldId="2147470557"/>
            <ac:spMk id="6" creationId="{34C8A714-55EC-40AC-B65A-1F994DEC5152}"/>
          </ac:spMkLst>
        </pc:spChg>
        <pc:spChg chg="mod">
          <ac:chgData name="Dwayne Natwick" userId="d11f0013982d5c78" providerId="Windows Live" clId="Web-{BADFC5F9-7469-4C33-B617-8367941D32AF}" dt="2023-09-07T17:47:19.379" v="21" actId="20577"/>
          <ac:spMkLst>
            <pc:docMk/>
            <pc:sldMk cId="2945821040" sldId="2147470557"/>
            <ac:spMk id="11" creationId="{4CDBBAB8-E9CB-47C6-E69D-F17DB5F47E42}"/>
          </ac:spMkLst>
        </pc:spChg>
        <pc:spChg chg="mod">
          <ac:chgData name="Dwayne Natwick" userId="d11f0013982d5c78" providerId="Windows Live" clId="Web-{BADFC5F9-7469-4C33-B617-8367941D32AF}" dt="2023-09-07T17:50:01.305" v="156" actId="20577"/>
          <ac:spMkLst>
            <pc:docMk/>
            <pc:sldMk cId="2945821040" sldId="2147470557"/>
            <ac:spMk id="28" creationId="{C9EAB225-5AB7-686B-2B0B-5A0DA0699DAA}"/>
          </ac:spMkLst>
        </pc:spChg>
        <pc:spChg chg="mod">
          <ac:chgData name="Dwayne Natwick" userId="d11f0013982d5c78" providerId="Windows Live" clId="Web-{BADFC5F9-7469-4C33-B617-8367941D32AF}" dt="2023-09-07T17:48:57.178" v="108" actId="20577"/>
          <ac:spMkLst>
            <pc:docMk/>
            <pc:sldMk cId="2945821040" sldId="2147470557"/>
            <ac:spMk id="31" creationId="{396F3C3E-06A6-C7C0-E225-74DAE937B4B6}"/>
          </ac:spMkLst>
        </pc:spChg>
        <pc:spChg chg="mod">
          <ac:chgData name="Dwayne Natwick" userId="d11f0013982d5c78" providerId="Windows Live" clId="Web-{BADFC5F9-7469-4C33-B617-8367941D32AF}" dt="2023-09-07T17:49:21.538" v="134" actId="20577"/>
          <ac:spMkLst>
            <pc:docMk/>
            <pc:sldMk cId="2945821040" sldId="2147470557"/>
            <ac:spMk id="34" creationId="{A53BEA30-32DF-F647-94E1-F0D90C6E0D13}"/>
          </ac:spMkLst>
        </pc:spChg>
        <pc:spChg chg="mod">
          <ac:chgData name="Dwayne Natwick" userId="d11f0013982d5c78" providerId="Windows Live" clId="Web-{BADFC5F9-7469-4C33-B617-8367941D32AF}" dt="2023-09-07T17:49:57.258" v="155" actId="20577"/>
          <ac:spMkLst>
            <pc:docMk/>
            <pc:sldMk cId="2945821040" sldId="2147470557"/>
            <ac:spMk id="37" creationId="{F54DB8AE-368A-6FC1-959E-5DD62306E2C5}"/>
          </ac:spMkLst>
        </pc:spChg>
      </pc:sldChg>
      <pc:sldChg chg="modSp add modNotes">
        <pc:chgData name="Dwayne Natwick" userId="d11f0013982d5c78" providerId="Windows Live" clId="Web-{BADFC5F9-7469-4C33-B617-8367941D32AF}" dt="2023-09-07T18:49:03.468" v="1791"/>
        <pc:sldMkLst>
          <pc:docMk/>
          <pc:sldMk cId="1550946110" sldId="2147470558"/>
        </pc:sldMkLst>
        <pc:spChg chg="mod">
          <ac:chgData name="Dwayne Natwick" userId="d11f0013982d5c78" providerId="Windows Live" clId="Web-{BADFC5F9-7469-4C33-B617-8367941D32AF}" dt="2023-09-07T18:06:17.953" v="523" actId="20577"/>
          <ac:spMkLst>
            <pc:docMk/>
            <pc:sldMk cId="1550946110" sldId="2147470558"/>
            <ac:spMk id="7" creationId="{BAEABFA2-6886-4059-8BDC-CEA47006EF42}"/>
          </ac:spMkLst>
        </pc:spChg>
        <pc:spChg chg="mod">
          <ac:chgData name="Dwayne Natwick" userId="d11f0013982d5c78" providerId="Windows Live" clId="Web-{BADFC5F9-7469-4C33-B617-8367941D32AF}" dt="2023-09-07T18:06:39.813" v="543" actId="20577"/>
          <ac:spMkLst>
            <pc:docMk/>
            <pc:sldMk cId="1550946110" sldId="2147470558"/>
            <ac:spMk id="9" creationId="{DEC298B1-8CEC-496A-A434-6778D0312A8B}"/>
          </ac:spMkLst>
        </pc:spChg>
      </pc:sldChg>
      <pc:sldChg chg="modSp add">
        <pc:chgData name="Dwayne Natwick" userId="d11f0013982d5c78" providerId="Windows Live" clId="Web-{BADFC5F9-7469-4C33-B617-8367941D32AF}" dt="2023-09-07T18:15:16.856" v="1024"/>
        <pc:sldMkLst>
          <pc:docMk/>
          <pc:sldMk cId="3682517411" sldId="2147470559"/>
        </pc:sldMkLst>
        <pc:graphicFrameChg chg="mod modGraphic">
          <ac:chgData name="Dwayne Natwick" userId="d11f0013982d5c78" providerId="Windows Live" clId="Web-{BADFC5F9-7469-4C33-B617-8367941D32AF}" dt="2023-09-07T18:13:38.588" v="926" actId="1076"/>
          <ac:graphicFrameMkLst>
            <pc:docMk/>
            <pc:sldMk cId="3682517411" sldId="2147470559"/>
            <ac:graphicFrameMk id="8" creationId="{CC919F4A-A7D9-8DDD-DB16-BF7FF8DD9E3B}"/>
          </ac:graphicFrameMkLst>
        </pc:graphicFrameChg>
        <pc:graphicFrameChg chg="mod modGraphic">
          <ac:chgData name="Dwayne Natwick" userId="d11f0013982d5c78" providerId="Windows Live" clId="Web-{BADFC5F9-7469-4C33-B617-8367941D32AF}" dt="2023-09-07T18:15:16.856" v="1024"/>
          <ac:graphicFrameMkLst>
            <pc:docMk/>
            <pc:sldMk cId="3682517411" sldId="2147470559"/>
            <ac:graphicFrameMk id="11" creationId="{A52E73B0-7A2A-ED30-FEF2-D5B76028305D}"/>
          </ac:graphicFrameMkLst>
        </pc:graphicFrameChg>
      </pc:sldChg>
      <pc:sldChg chg="modSp add">
        <pc:chgData name="Dwayne Natwick" userId="d11f0013982d5c78" providerId="Windows Live" clId="Web-{BADFC5F9-7469-4C33-B617-8367941D32AF}" dt="2023-09-07T18:22:30.117" v="1251" actId="20577"/>
        <pc:sldMkLst>
          <pc:docMk/>
          <pc:sldMk cId="4270848246" sldId="2147470560"/>
        </pc:sldMkLst>
        <pc:spChg chg="mod">
          <ac:chgData name="Dwayne Natwick" userId="d11f0013982d5c78" providerId="Windows Live" clId="Web-{BADFC5F9-7469-4C33-B617-8367941D32AF}" dt="2023-09-07T18:21:33.475" v="1235" actId="20577"/>
          <ac:spMkLst>
            <pc:docMk/>
            <pc:sldMk cId="4270848246" sldId="2147470560"/>
            <ac:spMk id="12" creationId="{365BE44E-89D5-8293-A3E1-4536B5D3B526}"/>
          </ac:spMkLst>
        </pc:spChg>
        <pc:spChg chg="mod">
          <ac:chgData name="Dwayne Natwick" userId="d11f0013982d5c78" providerId="Windows Live" clId="Web-{BADFC5F9-7469-4C33-B617-8367941D32AF}" dt="2023-09-07T18:21:50.600" v="1241" actId="20577"/>
          <ac:spMkLst>
            <pc:docMk/>
            <pc:sldMk cId="4270848246" sldId="2147470560"/>
            <ac:spMk id="18" creationId="{7D66421A-6C08-23BB-D770-A2A0FF91DD1C}"/>
          </ac:spMkLst>
        </pc:spChg>
        <pc:spChg chg="mod">
          <ac:chgData name="Dwayne Natwick" userId="d11f0013982d5c78" providerId="Windows Live" clId="Web-{BADFC5F9-7469-4C33-B617-8367941D32AF}" dt="2023-09-07T18:21:46.991" v="1239" actId="20577"/>
          <ac:spMkLst>
            <pc:docMk/>
            <pc:sldMk cId="4270848246" sldId="2147470560"/>
            <ac:spMk id="21" creationId="{87ACA6E9-9681-99AA-65E6-65303BA5F10F}"/>
          </ac:spMkLst>
        </pc:spChg>
        <pc:spChg chg="mod">
          <ac:chgData name="Dwayne Natwick" userId="d11f0013982d5c78" providerId="Windows Live" clId="Web-{BADFC5F9-7469-4C33-B617-8367941D32AF}" dt="2023-09-07T18:22:05.835" v="1244" actId="20577"/>
          <ac:spMkLst>
            <pc:docMk/>
            <pc:sldMk cId="4270848246" sldId="2147470560"/>
            <ac:spMk id="24" creationId="{86B4A3BC-B5A8-2BE0-1133-3BA9CB7EDFAB}"/>
          </ac:spMkLst>
        </pc:spChg>
        <pc:spChg chg="mod">
          <ac:chgData name="Dwayne Natwick" userId="d11f0013982d5c78" providerId="Windows Live" clId="Web-{BADFC5F9-7469-4C33-B617-8367941D32AF}" dt="2023-09-07T18:22:19.195" v="1247" actId="20577"/>
          <ac:spMkLst>
            <pc:docMk/>
            <pc:sldMk cId="4270848246" sldId="2147470560"/>
            <ac:spMk id="27" creationId="{9ADD736A-323E-6575-0C10-C5BD32DE5235}"/>
          </ac:spMkLst>
        </pc:spChg>
        <pc:spChg chg="mod">
          <ac:chgData name="Dwayne Natwick" userId="d11f0013982d5c78" providerId="Windows Live" clId="Web-{BADFC5F9-7469-4C33-B617-8367941D32AF}" dt="2023-09-07T18:22:30.117" v="1251" actId="20577"/>
          <ac:spMkLst>
            <pc:docMk/>
            <pc:sldMk cId="4270848246" sldId="2147470560"/>
            <ac:spMk id="30" creationId="{3DB7542E-ADDB-131A-48BF-8DE17592FCF3}"/>
          </ac:spMkLst>
        </pc:spChg>
      </pc:sldChg>
      <pc:sldChg chg="add del">
        <pc:chgData name="Dwayne Natwick" userId="d11f0013982d5c78" providerId="Windows Live" clId="Web-{BADFC5F9-7469-4C33-B617-8367941D32AF}" dt="2023-09-07T18:46:39.011" v="1782"/>
        <pc:sldMkLst>
          <pc:docMk/>
          <pc:sldMk cId="3093469809" sldId="2147470561"/>
        </pc:sldMkLst>
      </pc:sldChg>
      <pc:sldChg chg="add del">
        <pc:chgData name="Dwayne Natwick" userId="d11f0013982d5c78" providerId="Windows Live" clId="Web-{BADFC5F9-7469-4C33-B617-8367941D32AF}" dt="2023-09-07T18:46:39.011" v="1783"/>
        <pc:sldMkLst>
          <pc:docMk/>
          <pc:sldMk cId="2504118955" sldId="2147470562"/>
        </pc:sldMkLst>
      </pc:sldChg>
      <pc:sldChg chg="add del">
        <pc:chgData name="Dwayne Natwick" userId="d11f0013982d5c78" providerId="Windows Live" clId="Web-{BADFC5F9-7469-4C33-B617-8367941D32AF}" dt="2023-09-07T18:46:39.027" v="1784"/>
        <pc:sldMkLst>
          <pc:docMk/>
          <pc:sldMk cId="2164269255" sldId="2147470563"/>
        </pc:sldMkLst>
      </pc:sldChg>
      <pc:sldChg chg="modSp add del modNotes">
        <pc:chgData name="Dwayne Natwick" userId="d11f0013982d5c78" providerId="Windows Live" clId="Web-{BADFC5F9-7469-4C33-B617-8367941D32AF}" dt="2023-09-07T18:49:33.046" v="1794"/>
        <pc:sldMkLst>
          <pc:docMk/>
          <pc:sldMk cId="3644458694" sldId="2147470564"/>
        </pc:sldMkLst>
        <pc:spChg chg="mod">
          <ac:chgData name="Dwayne Natwick" userId="d11f0013982d5c78" providerId="Windows Live" clId="Web-{BADFC5F9-7469-4C33-B617-8367941D32AF}" dt="2023-09-07T18:18:48.705" v="1095" actId="20577"/>
          <ac:spMkLst>
            <pc:docMk/>
            <pc:sldMk cId="3644458694" sldId="2147470564"/>
            <ac:spMk id="167" creationId="{D5F5558B-707E-639D-6D0D-A1F550396012}"/>
          </ac:spMkLst>
        </pc:spChg>
        <pc:spChg chg="mod">
          <ac:chgData name="Dwayne Natwick" userId="d11f0013982d5c78" providerId="Windows Live" clId="Web-{BADFC5F9-7469-4C33-B617-8367941D32AF}" dt="2023-09-07T18:18:55.627" v="1096"/>
          <ac:spMkLst>
            <pc:docMk/>
            <pc:sldMk cId="3644458694" sldId="2147470564"/>
            <ac:spMk id="169" creationId="{17D5A210-8383-0BEC-DB4C-8AA2EC9BF961}"/>
          </ac:spMkLst>
        </pc:spChg>
        <pc:spChg chg="mod">
          <ac:chgData name="Dwayne Natwick" userId="d11f0013982d5c78" providerId="Windows Live" clId="Web-{BADFC5F9-7469-4C33-B617-8367941D32AF}" dt="2023-09-07T18:19:19.409" v="1124" actId="20577"/>
          <ac:spMkLst>
            <pc:docMk/>
            <pc:sldMk cId="3644458694" sldId="2147470564"/>
            <ac:spMk id="173" creationId="{C0632E7C-0241-61E1-D3F4-FCB185277595}"/>
          </ac:spMkLst>
        </pc:spChg>
        <pc:spChg chg="mod">
          <ac:chgData name="Dwayne Natwick" userId="d11f0013982d5c78" providerId="Windows Live" clId="Web-{BADFC5F9-7469-4C33-B617-8367941D32AF}" dt="2023-09-07T18:19:46.988" v="1153" actId="20577"/>
          <ac:spMkLst>
            <pc:docMk/>
            <pc:sldMk cId="3644458694" sldId="2147470564"/>
            <ac:spMk id="181" creationId="{C01E1DF7-AFB3-BF3D-96A2-20CDD0FB59FE}"/>
          </ac:spMkLst>
        </pc:spChg>
        <pc:spChg chg="mod">
          <ac:chgData name="Dwayne Natwick" userId="d11f0013982d5c78" providerId="Windows Live" clId="Web-{BADFC5F9-7469-4C33-B617-8367941D32AF}" dt="2023-09-07T18:20:12.442" v="1180" actId="20577"/>
          <ac:spMkLst>
            <pc:docMk/>
            <pc:sldMk cId="3644458694" sldId="2147470564"/>
            <ac:spMk id="185" creationId="{7CA9D89B-B694-6F39-9E6F-1CA0F13592F6}"/>
          </ac:spMkLst>
        </pc:spChg>
        <pc:spChg chg="mod">
          <ac:chgData name="Dwayne Natwick" userId="d11f0013982d5c78" providerId="Windows Live" clId="Web-{BADFC5F9-7469-4C33-B617-8367941D32AF}" dt="2023-09-07T18:20:41.474" v="1208" actId="20577"/>
          <ac:spMkLst>
            <pc:docMk/>
            <pc:sldMk cId="3644458694" sldId="2147470564"/>
            <ac:spMk id="186" creationId="{2C77C621-8B24-9C01-BABF-AEA4AF1AAF56}"/>
          </ac:spMkLst>
        </pc:spChg>
        <pc:spChg chg="mod">
          <ac:chgData name="Dwayne Natwick" userId="d11f0013982d5c78" providerId="Windows Live" clId="Web-{BADFC5F9-7469-4C33-B617-8367941D32AF}" dt="2023-09-07T18:21:15.084" v="1232" actId="20577"/>
          <ac:spMkLst>
            <pc:docMk/>
            <pc:sldMk cId="3644458694" sldId="2147470564"/>
            <ac:spMk id="190" creationId="{8C2E0BB3-B0A3-DD4D-435A-54DA558FC4BD}"/>
          </ac:spMkLst>
        </pc:spChg>
      </pc:sldChg>
      <pc:sldChg chg="modSp add modNotes">
        <pc:chgData name="Dwayne Natwick" userId="d11f0013982d5c78" providerId="Windows Live" clId="Web-{BADFC5F9-7469-4C33-B617-8367941D32AF}" dt="2023-09-07T18:49:21.171" v="1792"/>
        <pc:sldMkLst>
          <pc:docMk/>
          <pc:sldMk cId="2739312586" sldId="2147470565"/>
        </pc:sldMkLst>
        <pc:spChg chg="mod">
          <ac:chgData name="Dwayne Natwick" userId="d11f0013982d5c78" providerId="Windows Live" clId="Web-{BADFC5F9-7469-4C33-B617-8367941D32AF}" dt="2023-09-07T18:18:11.814" v="1064"/>
          <ac:spMkLst>
            <pc:docMk/>
            <pc:sldMk cId="2739312586" sldId="2147470565"/>
            <ac:spMk id="4" creationId="{DAA5FD98-5292-2367-63BF-BB583BFC2A96}"/>
          </ac:spMkLst>
        </pc:spChg>
      </pc:sldChg>
      <pc:sldChg chg="delSp modSp add">
        <pc:chgData name="Dwayne Natwick" userId="d11f0013982d5c78" providerId="Windows Live" clId="Web-{BADFC5F9-7469-4C33-B617-8367941D32AF}" dt="2023-09-07T18:41:29.691" v="1559" actId="14100"/>
        <pc:sldMkLst>
          <pc:docMk/>
          <pc:sldMk cId="1307574574" sldId="2147470566"/>
        </pc:sldMkLst>
        <pc:spChg chg="mod">
          <ac:chgData name="Dwayne Natwick" userId="d11f0013982d5c78" providerId="Windows Live" clId="Web-{BADFC5F9-7469-4C33-B617-8367941D32AF}" dt="2023-09-07T18:41:29.691" v="1559" actId="14100"/>
          <ac:spMkLst>
            <pc:docMk/>
            <pc:sldMk cId="1307574574" sldId="2147470566"/>
            <ac:spMk id="10" creationId="{1E98F374-AEB3-0659-95E2-34C88EF9BD14}"/>
          </ac:spMkLst>
        </pc:spChg>
        <pc:spChg chg="mod">
          <ac:chgData name="Dwayne Natwick" userId="d11f0013982d5c78" providerId="Windows Live" clId="Web-{BADFC5F9-7469-4C33-B617-8367941D32AF}" dt="2023-09-07T18:34:19.524" v="1526" actId="20577"/>
          <ac:spMkLst>
            <pc:docMk/>
            <pc:sldMk cId="1307574574" sldId="2147470566"/>
            <ac:spMk id="18" creationId="{7D66421A-6C08-23BB-D770-A2A0FF91DD1C}"/>
          </ac:spMkLst>
        </pc:spChg>
        <pc:spChg chg="mod">
          <ac:chgData name="Dwayne Natwick" userId="d11f0013982d5c78" providerId="Windows Live" clId="Web-{BADFC5F9-7469-4C33-B617-8367941D32AF}" dt="2023-09-07T18:34:46.650" v="1538" actId="20577"/>
          <ac:spMkLst>
            <pc:docMk/>
            <pc:sldMk cId="1307574574" sldId="2147470566"/>
            <ac:spMk id="21" creationId="{87ACA6E9-9681-99AA-65E6-65303BA5F10F}"/>
          </ac:spMkLst>
        </pc:spChg>
        <pc:spChg chg="mod">
          <ac:chgData name="Dwayne Natwick" userId="d11f0013982d5c78" providerId="Windows Live" clId="Web-{BADFC5F9-7469-4C33-B617-8367941D32AF}" dt="2023-09-07T18:35:11.166" v="1542" actId="20577"/>
          <ac:spMkLst>
            <pc:docMk/>
            <pc:sldMk cId="1307574574" sldId="2147470566"/>
            <ac:spMk id="24" creationId="{86B4A3BC-B5A8-2BE0-1133-3BA9CB7EDFAB}"/>
          </ac:spMkLst>
        </pc:spChg>
        <pc:spChg chg="mod">
          <ac:chgData name="Dwayne Natwick" userId="d11f0013982d5c78" providerId="Windows Live" clId="Web-{BADFC5F9-7469-4C33-B617-8367941D32AF}" dt="2023-09-07T18:35:28.432" v="1545" actId="20577"/>
          <ac:spMkLst>
            <pc:docMk/>
            <pc:sldMk cId="1307574574" sldId="2147470566"/>
            <ac:spMk id="27" creationId="{9ADD736A-323E-6575-0C10-C5BD32DE5235}"/>
          </ac:spMkLst>
        </pc:spChg>
        <pc:spChg chg="mod">
          <ac:chgData name="Dwayne Natwick" userId="d11f0013982d5c78" providerId="Windows Live" clId="Web-{BADFC5F9-7469-4C33-B617-8367941D32AF}" dt="2023-09-07T18:35:31.198" v="1546" actId="20577"/>
          <ac:spMkLst>
            <pc:docMk/>
            <pc:sldMk cId="1307574574" sldId="2147470566"/>
            <ac:spMk id="30" creationId="{3DB7542E-ADDB-131A-48BF-8DE17592FCF3}"/>
          </ac:spMkLst>
        </pc:spChg>
        <pc:grpChg chg="mod">
          <ac:chgData name="Dwayne Natwick" userId="d11f0013982d5c78" providerId="Windows Live" clId="Web-{BADFC5F9-7469-4C33-B617-8367941D32AF}" dt="2023-09-07T18:35:45.651" v="1548" actId="1076"/>
          <ac:grpSpMkLst>
            <pc:docMk/>
            <pc:sldMk cId="1307574574" sldId="2147470566"/>
            <ac:grpSpMk id="20" creationId="{A36623D1-3D23-0F58-776F-2F2922A3B9F7}"/>
          </ac:grpSpMkLst>
        </pc:grpChg>
        <pc:grpChg chg="del">
          <ac:chgData name="Dwayne Natwick" userId="d11f0013982d5c78" providerId="Windows Live" clId="Web-{BADFC5F9-7469-4C33-B617-8367941D32AF}" dt="2023-09-07T18:35:33.886" v="1547"/>
          <ac:grpSpMkLst>
            <pc:docMk/>
            <pc:sldMk cId="1307574574" sldId="2147470566"/>
            <ac:grpSpMk id="29" creationId="{9481AA04-0DDB-A3FD-ED50-47E2C2A045A3}"/>
          </ac:grpSpMkLst>
        </pc:grpChg>
      </pc:sldChg>
      <pc:sldChg chg="add del">
        <pc:chgData name="Dwayne Natwick" userId="d11f0013982d5c78" providerId="Windows Live" clId="Web-{BADFC5F9-7469-4C33-B617-8367941D32AF}" dt="2023-09-07T18:48:13.716" v="1787"/>
        <pc:sldMkLst>
          <pc:docMk/>
          <pc:sldMk cId="59137773" sldId="2147470567"/>
        </pc:sldMkLst>
      </pc:sldChg>
      <pc:sldChg chg="add del">
        <pc:chgData name="Dwayne Natwick" userId="d11f0013982d5c78" providerId="Windows Live" clId="Web-{BADFC5F9-7469-4C33-B617-8367941D32AF}" dt="2023-09-07T18:48:13.732" v="1788"/>
        <pc:sldMkLst>
          <pc:docMk/>
          <pc:sldMk cId="3161884628" sldId="2147470568"/>
        </pc:sldMkLst>
      </pc:sldChg>
      <pc:sldChg chg="add del">
        <pc:chgData name="Dwayne Natwick" userId="d11f0013982d5c78" providerId="Windows Live" clId="Web-{BADFC5F9-7469-4C33-B617-8367941D32AF}" dt="2023-09-07T18:48:13.732" v="1789"/>
        <pc:sldMkLst>
          <pc:docMk/>
          <pc:sldMk cId="700103724" sldId="2147470569"/>
        </pc:sldMkLst>
      </pc:sldChg>
      <pc:sldChg chg="add del">
        <pc:chgData name="Dwayne Natwick" userId="d11f0013982d5c78" providerId="Windows Live" clId="Web-{BADFC5F9-7469-4C33-B617-8367941D32AF}" dt="2023-09-07T18:26:28.951" v="1427"/>
        <pc:sldMkLst>
          <pc:docMk/>
          <pc:sldMk cId="4003279507" sldId="2147470570"/>
        </pc:sldMkLst>
      </pc:sldChg>
      <pc:sldChg chg="modSp add modNotes">
        <pc:chgData name="Dwayne Natwick" userId="d11f0013982d5c78" providerId="Windows Live" clId="Web-{BADFC5F9-7469-4C33-B617-8367941D32AF}" dt="2023-09-07T18:49:40.953" v="1795"/>
        <pc:sldMkLst>
          <pc:docMk/>
          <pc:sldMk cId="2251723249" sldId="2147470571"/>
        </pc:sldMkLst>
        <pc:spChg chg="mod">
          <ac:chgData name="Dwayne Natwick" userId="d11f0013982d5c78" providerId="Windows Live" clId="Web-{BADFC5F9-7469-4C33-B617-8367941D32AF}" dt="2023-09-07T18:23:34.368" v="1300" actId="20577"/>
          <ac:spMkLst>
            <pc:docMk/>
            <pc:sldMk cId="2251723249" sldId="2147470571"/>
            <ac:spMk id="4" creationId="{DAA5FD98-5292-2367-63BF-BB583BFC2A96}"/>
          </ac:spMkLst>
        </pc:spChg>
      </pc:sldChg>
      <pc:sldChg chg="delSp modSp add ord modNotes">
        <pc:chgData name="Dwayne Natwick" userId="d11f0013982d5c78" providerId="Windows Live" clId="Web-{BADFC5F9-7469-4C33-B617-8367941D32AF}" dt="2023-09-07T18:33:57.524" v="1517" actId="1076"/>
        <pc:sldMkLst>
          <pc:docMk/>
          <pc:sldMk cId="1259147145" sldId="2147470572"/>
        </pc:sldMkLst>
        <pc:spChg chg="del">
          <ac:chgData name="Dwayne Natwick" userId="d11f0013982d5c78" providerId="Windows Live" clId="Web-{BADFC5F9-7469-4C33-B617-8367941D32AF}" dt="2023-09-07T18:33:36.898" v="1510"/>
          <ac:spMkLst>
            <pc:docMk/>
            <pc:sldMk cId="1259147145" sldId="2147470572"/>
            <ac:spMk id="5" creationId="{AB45EF00-1FA1-F95D-F863-D9901C25F663}"/>
          </ac:spMkLst>
        </pc:spChg>
        <pc:spChg chg="del">
          <ac:chgData name="Dwayne Natwick" userId="d11f0013982d5c78" providerId="Windows Live" clId="Web-{BADFC5F9-7469-4C33-B617-8367941D32AF}" dt="2023-09-07T18:33:36.898" v="1509"/>
          <ac:spMkLst>
            <pc:docMk/>
            <pc:sldMk cId="1259147145" sldId="2147470572"/>
            <ac:spMk id="6" creationId="{F7B2730C-6398-44C6-A285-D206E7539CB0}"/>
          </ac:spMkLst>
        </pc:spChg>
        <pc:spChg chg="mod">
          <ac:chgData name="Dwayne Natwick" userId="d11f0013982d5c78" providerId="Windows Live" clId="Web-{BADFC5F9-7469-4C33-B617-8367941D32AF}" dt="2023-09-07T18:25:55.215" v="1423" actId="20577"/>
          <ac:spMkLst>
            <pc:docMk/>
            <pc:sldMk cId="1259147145" sldId="2147470572"/>
            <ac:spMk id="21" creationId="{68C8CFE1-65AB-E14A-D550-F9CC1A93CFC5}"/>
          </ac:spMkLst>
        </pc:spChg>
        <pc:spChg chg="mod">
          <ac:chgData name="Dwayne Natwick" userId="d11f0013982d5c78" providerId="Windows Live" clId="Web-{BADFC5F9-7469-4C33-B617-8367941D32AF}" dt="2023-09-07T18:24:30.041" v="1302" actId="20577"/>
          <ac:spMkLst>
            <pc:docMk/>
            <pc:sldMk cId="1259147145" sldId="2147470572"/>
            <ac:spMk id="23" creationId="{9DA05131-6770-3582-BD7D-A41220780897}"/>
          </ac:spMkLst>
        </pc:spChg>
        <pc:spChg chg="mod">
          <ac:chgData name="Dwayne Natwick" userId="d11f0013982d5c78" providerId="Windows Live" clId="Web-{BADFC5F9-7469-4C33-B617-8367941D32AF}" dt="2023-09-07T18:27:24.936" v="1433" actId="20577"/>
          <ac:spMkLst>
            <pc:docMk/>
            <pc:sldMk cId="1259147145" sldId="2147470572"/>
            <ac:spMk id="27" creationId="{2110CA23-E319-B299-E485-6F98BFAFC1EC}"/>
          </ac:spMkLst>
        </pc:spChg>
        <pc:spChg chg="mod">
          <ac:chgData name="Dwayne Natwick" userId="d11f0013982d5c78" providerId="Windows Live" clId="Web-{BADFC5F9-7469-4C33-B617-8367941D32AF}" dt="2023-09-07T18:27:22.514" v="1432" actId="20577"/>
          <ac:spMkLst>
            <pc:docMk/>
            <pc:sldMk cId="1259147145" sldId="2147470572"/>
            <ac:spMk id="28" creationId="{0A250D4B-4C44-4636-CA86-49CB47665514}"/>
          </ac:spMkLst>
        </pc:spChg>
        <pc:spChg chg="mod">
          <ac:chgData name="Dwayne Natwick" userId="d11f0013982d5c78" providerId="Windows Live" clId="Web-{BADFC5F9-7469-4C33-B617-8367941D32AF}" dt="2023-09-07T18:33:31.211" v="1508" actId="20577"/>
          <ac:spMkLst>
            <pc:docMk/>
            <pc:sldMk cId="1259147145" sldId="2147470572"/>
            <ac:spMk id="32" creationId="{93C8FB2B-8EDA-992B-5C01-296093DB1125}"/>
          </ac:spMkLst>
        </pc:spChg>
        <pc:spChg chg="del mod">
          <ac:chgData name="Dwayne Natwick" userId="d11f0013982d5c78" providerId="Windows Live" clId="Web-{BADFC5F9-7469-4C33-B617-8367941D32AF}" dt="2023-09-07T18:33:44.117" v="1514"/>
          <ac:spMkLst>
            <pc:docMk/>
            <pc:sldMk cId="1259147145" sldId="2147470572"/>
            <ac:spMk id="36" creationId="{3A0A3735-C114-E83A-76A1-BD992865B7E6}"/>
          </ac:spMkLst>
        </pc:spChg>
        <pc:spChg chg="del mod">
          <ac:chgData name="Dwayne Natwick" userId="d11f0013982d5c78" providerId="Windows Live" clId="Web-{BADFC5F9-7469-4C33-B617-8367941D32AF}" dt="2023-09-07T18:33:41.414" v="1513"/>
          <ac:spMkLst>
            <pc:docMk/>
            <pc:sldMk cId="1259147145" sldId="2147470572"/>
            <ac:spMk id="40" creationId="{A88F3369-17EB-9EF5-A3F3-A951AC048B83}"/>
          </ac:spMkLst>
        </pc:spChg>
        <pc:spChg chg="mod">
          <ac:chgData name="Dwayne Natwick" userId="d11f0013982d5c78" providerId="Windows Live" clId="Web-{BADFC5F9-7469-4C33-B617-8367941D32AF}" dt="2023-09-07T18:33:57.524" v="1517" actId="1076"/>
          <ac:spMkLst>
            <pc:docMk/>
            <pc:sldMk cId="1259147145" sldId="2147470572"/>
            <ac:spMk id="45" creationId="{5FC56D04-6461-7BEE-637B-221EBDD72AB4}"/>
          </ac:spMkLst>
        </pc:spChg>
        <pc:spChg chg="mod">
          <ac:chgData name="Dwayne Natwick" userId="d11f0013982d5c78" providerId="Windows Live" clId="Web-{BADFC5F9-7469-4C33-B617-8367941D32AF}" dt="2023-09-07T18:33:57.493" v="1515" actId="1076"/>
          <ac:spMkLst>
            <pc:docMk/>
            <pc:sldMk cId="1259147145" sldId="2147470572"/>
            <ac:spMk id="56" creationId="{87C697D9-D5F1-EBDD-81F9-D4CB7DC374D4}"/>
          </ac:spMkLst>
        </pc:spChg>
        <pc:grpChg chg="del">
          <ac:chgData name="Dwayne Natwick" userId="d11f0013982d5c78" providerId="Windows Live" clId="Web-{BADFC5F9-7469-4C33-B617-8367941D32AF}" dt="2023-09-07T18:33:36.898" v="1511"/>
          <ac:grpSpMkLst>
            <pc:docMk/>
            <pc:sldMk cId="1259147145" sldId="2147470572"/>
            <ac:grpSpMk id="37" creationId="{03D53F7E-A80A-B713-205C-8B0DC3DD6DAC}"/>
          </ac:grpSpMkLst>
        </pc:grpChg>
        <pc:grpChg chg="del">
          <ac:chgData name="Dwayne Natwick" userId="d11f0013982d5c78" providerId="Windows Live" clId="Web-{BADFC5F9-7469-4C33-B617-8367941D32AF}" dt="2023-09-07T18:33:41.414" v="1512"/>
          <ac:grpSpMkLst>
            <pc:docMk/>
            <pc:sldMk cId="1259147145" sldId="2147470572"/>
            <ac:grpSpMk id="41" creationId="{9252A0C6-63FA-BA5A-4969-881191D38BC5}"/>
          </ac:grpSpMkLst>
        </pc:grpChg>
        <pc:grpChg chg="mod">
          <ac:chgData name="Dwayne Natwick" userId="d11f0013982d5c78" providerId="Windows Live" clId="Web-{BADFC5F9-7469-4C33-B617-8367941D32AF}" dt="2023-09-07T18:33:57.508" v="1516" actId="1076"/>
          <ac:grpSpMkLst>
            <pc:docMk/>
            <pc:sldMk cId="1259147145" sldId="2147470572"/>
            <ac:grpSpMk id="57" creationId="{22EDF683-B51C-3712-6AC1-59A383F3DB66}"/>
          </ac:grpSpMkLst>
        </pc:grpChg>
      </pc:sldChg>
      <pc:sldChg chg="addSp modSp new mod modClrScheme chgLayout modNotes">
        <pc:chgData name="Dwayne Natwick" userId="d11f0013982d5c78" providerId="Windows Live" clId="Web-{BADFC5F9-7469-4C33-B617-8367941D32AF}" dt="2023-09-07T18:41:55.504" v="1571" actId="20577"/>
        <pc:sldMkLst>
          <pc:docMk/>
          <pc:sldMk cId="948136224" sldId="2147470573"/>
        </pc:sldMkLst>
        <pc:spChg chg="mod ord">
          <ac:chgData name="Dwayne Natwick" userId="d11f0013982d5c78" providerId="Windows Live" clId="Web-{BADFC5F9-7469-4C33-B617-8367941D32AF}" dt="2023-09-07T18:41:55.504" v="1571" actId="20577"/>
          <ac:spMkLst>
            <pc:docMk/>
            <pc:sldMk cId="948136224" sldId="2147470573"/>
            <ac:spMk id="2" creationId="{9818A146-7202-24EA-7B4D-99C422D5DB3F}"/>
          </ac:spMkLst>
        </pc:spChg>
        <pc:spChg chg="add mod ord">
          <ac:chgData name="Dwayne Natwick" userId="d11f0013982d5c78" providerId="Windows Live" clId="Web-{BADFC5F9-7469-4C33-B617-8367941D32AF}" dt="2023-09-07T18:36:20.762" v="1550"/>
          <ac:spMkLst>
            <pc:docMk/>
            <pc:sldMk cId="948136224" sldId="2147470573"/>
            <ac:spMk id="3" creationId="{8810F879-0D52-6206-A283-CE7E0B7E3C5D}"/>
          </ac:spMkLst>
        </pc:spChg>
      </pc:sldChg>
      <pc:sldChg chg="modSp add replId">
        <pc:chgData name="Dwayne Natwick" userId="d11f0013982d5c78" providerId="Windows Live" clId="Web-{BADFC5F9-7469-4C33-B617-8367941D32AF}" dt="2023-09-07T18:42:24.255" v="1604" actId="20577"/>
        <pc:sldMkLst>
          <pc:docMk/>
          <pc:sldMk cId="2030514790" sldId="2147470574"/>
        </pc:sldMkLst>
        <pc:spChg chg="mod">
          <ac:chgData name="Dwayne Natwick" userId="d11f0013982d5c78" providerId="Windows Live" clId="Web-{BADFC5F9-7469-4C33-B617-8367941D32AF}" dt="2023-09-07T18:42:24.255" v="1604" actId="20577"/>
          <ac:spMkLst>
            <pc:docMk/>
            <pc:sldMk cId="2030514790" sldId="2147470574"/>
            <ac:spMk id="2" creationId="{9818A146-7202-24EA-7B4D-99C422D5DB3F}"/>
          </ac:spMkLst>
        </pc:spChg>
      </pc:sldChg>
      <pc:sldChg chg="modSp new">
        <pc:chgData name="Dwayne Natwick" userId="d11f0013982d5c78" providerId="Windows Live" clId="Web-{BADFC5F9-7469-4C33-B617-8367941D32AF}" dt="2023-09-07T18:42:44.208" v="1617" actId="20577"/>
        <pc:sldMkLst>
          <pc:docMk/>
          <pc:sldMk cId="3649936595" sldId="2147470575"/>
        </pc:sldMkLst>
        <pc:spChg chg="mod">
          <ac:chgData name="Dwayne Natwick" userId="d11f0013982d5c78" providerId="Windows Live" clId="Web-{BADFC5F9-7469-4C33-B617-8367941D32AF}" dt="2023-09-07T18:42:44.208" v="1617" actId="20577"/>
          <ac:spMkLst>
            <pc:docMk/>
            <pc:sldMk cId="3649936595" sldId="2147470575"/>
            <ac:spMk id="2" creationId="{8839F5C4-843E-DBAD-044B-1872C9832914}"/>
          </ac:spMkLst>
        </pc:spChg>
      </pc:sldChg>
      <pc:sldChg chg="modSp new">
        <pc:chgData name="Dwayne Natwick" userId="d11f0013982d5c78" providerId="Windows Live" clId="Web-{BADFC5F9-7469-4C33-B617-8367941D32AF}" dt="2023-09-07T18:43:02.256" v="1642" actId="20577"/>
        <pc:sldMkLst>
          <pc:docMk/>
          <pc:sldMk cId="511214272" sldId="2147470576"/>
        </pc:sldMkLst>
        <pc:spChg chg="mod">
          <ac:chgData name="Dwayne Natwick" userId="d11f0013982d5c78" providerId="Windows Live" clId="Web-{BADFC5F9-7469-4C33-B617-8367941D32AF}" dt="2023-09-07T18:43:02.256" v="1642" actId="20577"/>
          <ac:spMkLst>
            <pc:docMk/>
            <pc:sldMk cId="511214272" sldId="2147470576"/>
            <ac:spMk id="2" creationId="{9991B069-6AF3-7B68-6726-099657220172}"/>
          </ac:spMkLst>
        </pc:spChg>
      </pc:sldChg>
      <pc:sldChg chg="modSp new">
        <pc:chgData name="Dwayne Natwick" userId="d11f0013982d5c78" providerId="Windows Live" clId="Web-{BADFC5F9-7469-4C33-B617-8367941D32AF}" dt="2023-09-07T18:43:21.881" v="1662" actId="20577"/>
        <pc:sldMkLst>
          <pc:docMk/>
          <pc:sldMk cId="4196600117" sldId="2147470577"/>
        </pc:sldMkLst>
        <pc:spChg chg="mod">
          <ac:chgData name="Dwayne Natwick" userId="d11f0013982d5c78" providerId="Windows Live" clId="Web-{BADFC5F9-7469-4C33-B617-8367941D32AF}" dt="2023-09-07T18:43:21.881" v="1662" actId="20577"/>
          <ac:spMkLst>
            <pc:docMk/>
            <pc:sldMk cId="4196600117" sldId="2147470577"/>
            <ac:spMk id="2" creationId="{E3FFC35A-DEE7-5F87-B579-666027F7AA8A}"/>
          </ac:spMkLst>
        </pc:spChg>
      </pc:sldChg>
      <pc:sldChg chg="modSp new">
        <pc:chgData name="Dwayne Natwick" userId="d11f0013982d5c78" providerId="Windows Live" clId="Web-{BADFC5F9-7469-4C33-B617-8367941D32AF}" dt="2023-09-07T18:44:18.289" v="1716" actId="20577"/>
        <pc:sldMkLst>
          <pc:docMk/>
          <pc:sldMk cId="1593797140" sldId="2147470578"/>
        </pc:sldMkLst>
        <pc:spChg chg="mod">
          <ac:chgData name="Dwayne Natwick" userId="d11f0013982d5c78" providerId="Windows Live" clId="Web-{BADFC5F9-7469-4C33-B617-8367941D32AF}" dt="2023-09-07T18:44:18.289" v="1716" actId="20577"/>
          <ac:spMkLst>
            <pc:docMk/>
            <pc:sldMk cId="1593797140" sldId="2147470578"/>
            <ac:spMk id="2" creationId="{4B4265E9-9755-13A6-D1C8-681FCFAFDB05}"/>
          </ac:spMkLst>
        </pc:spChg>
      </pc:sldChg>
      <pc:sldChg chg="modSp new">
        <pc:chgData name="Dwayne Natwick" userId="d11f0013982d5c78" providerId="Windows Live" clId="Web-{BADFC5F9-7469-4C33-B617-8367941D32AF}" dt="2023-09-07T18:43:47.444" v="1687" actId="20577"/>
        <pc:sldMkLst>
          <pc:docMk/>
          <pc:sldMk cId="90178162" sldId="2147470579"/>
        </pc:sldMkLst>
        <pc:spChg chg="mod">
          <ac:chgData name="Dwayne Natwick" userId="d11f0013982d5c78" providerId="Windows Live" clId="Web-{BADFC5F9-7469-4C33-B617-8367941D32AF}" dt="2023-09-07T18:43:47.444" v="1687" actId="20577"/>
          <ac:spMkLst>
            <pc:docMk/>
            <pc:sldMk cId="90178162" sldId="2147470579"/>
            <ac:spMk id="2" creationId="{CCEE8F8E-8AB3-8B85-39AE-98837F46EC4B}"/>
          </ac:spMkLst>
        </pc:spChg>
      </pc:sldChg>
      <pc:sldChg chg="modSp new">
        <pc:chgData name="Dwayne Natwick" userId="d11f0013982d5c78" providerId="Windows Live" clId="Web-{BADFC5F9-7469-4C33-B617-8367941D32AF}" dt="2023-09-07T18:44:00.507" v="1703" actId="20577"/>
        <pc:sldMkLst>
          <pc:docMk/>
          <pc:sldMk cId="1437570267" sldId="2147470580"/>
        </pc:sldMkLst>
        <pc:spChg chg="mod">
          <ac:chgData name="Dwayne Natwick" userId="d11f0013982d5c78" providerId="Windows Live" clId="Web-{BADFC5F9-7469-4C33-B617-8367941D32AF}" dt="2023-09-07T18:44:00.507" v="1703" actId="20577"/>
          <ac:spMkLst>
            <pc:docMk/>
            <pc:sldMk cId="1437570267" sldId="2147470580"/>
            <ac:spMk id="2" creationId="{7B3A1FEB-4EBD-088C-B102-3A5E0A53F311}"/>
          </ac:spMkLst>
        </pc:spChg>
      </pc:sldChg>
      <pc:sldChg chg="modSp new">
        <pc:chgData name="Dwayne Natwick" userId="d11f0013982d5c78" providerId="Windows Live" clId="Web-{BADFC5F9-7469-4C33-B617-8367941D32AF}" dt="2023-09-07T18:44:34.945" v="1730" actId="20577"/>
        <pc:sldMkLst>
          <pc:docMk/>
          <pc:sldMk cId="1083283128" sldId="2147470581"/>
        </pc:sldMkLst>
        <pc:spChg chg="mod">
          <ac:chgData name="Dwayne Natwick" userId="d11f0013982d5c78" providerId="Windows Live" clId="Web-{BADFC5F9-7469-4C33-B617-8367941D32AF}" dt="2023-09-07T18:44:34.945" v="1730" actId="20577"/>
          <ac:spMkLst>
            <pc:docMk/>
            <pc:sldMk cId="1083283128" sldId="2147470581"/>
            <ac:spMk id="2" creationId="{31D6B115-54CA-49B3-1D91-C2B049F34ED1}"/>
          </ac:spMkLst>
        </pc:spChg>
      </pc:sldChg>
      <pc:sldChg chg="modSp new">
        <pc:chgData name="Dwayne Natwick" userId="d11f0013982d5c78" providerId="Windows Live" clId="Web-{BADFC5F9-7469-4C33-B617-8367941D32AF}" dt="2023-09-07T18:46:29.104" v="1781" actId="20577"/>
        <pc:sldMkLst>
          <pc:docMk/>
          <pc:sldMk cId="3763189814" sldId="2147470582"/>
        </pc:sldMkLst>
        <pc:spChg chg="mod">
          <ac:chgData name="Dwayne Natwick" userId="d11f0013982d5c78" providerId="Windows Live" clId="Web-{BADFC5F9-7469-4C33-B617-8367941D32AF}" dt="2023-09-07T18:45:46.932" v="1734" actId="20577"/>
          <ac:spMkLst>
            <pc:docMk/>
            <pc:sldMk cId="3763189814" sldId="2147470582"/>
            <ac:spMk id="2" creationId="{133E6974-9FE8-E329-D3B0-306E220289A4}"/>
          </ac:spMkLst>
        </pc:spChg>
        <pc:spChg chg="mod">
          <ac:chgData name="Dwayne Natwick" userId="d11f0013982d5c78" providerId="Windows Live" clId="Web-{BADFC5F9-7469-4C33-B617-8367941D32AF}" dt="2023-09-07T18:46:29.104" v="1781" actId="20577"/>
          <ac:spMkLst>
            <pc:docMk/>
            <pc:sldMk cId="3763189814" sldId="2147470582"/>
            <ac:spMk id="3" creationId="{23A1A54E-6325-B210-02CE-A6FEE92CB668}"/>
          </ac:spMkLst>
        </pc:spChg>
      </pc:sldChg>
      <pc:sldChg chg="addSp modSp new mod modClrScheme chgLayout">
        <pc:chgData name="Dwayne Natwick" userId="d11f0013982d5c78" providerId="Windows Live" clId="Web-{BADFC5F9-7469-4C33-B617-8367941D32AF}" dt="2023-09-07T18:46:56.855" v="1786"/>
        <pc:sldMkLst>
          <pc:docMk/>
          <pc:sldMk cId="3861986293" sldId="2147470583"/>
        </pc:sldMkLst>
        <pc:spChg chg="mod ord">
          <ac:chgData name="Dwayne Natwick" userId="d11f0013982d5c78" providerId="Windows Live" clId="Web-{BADFC5F9-7469-4C33-B617-8367941D32AF}" dt="2023-09-07T18:46:56.855" v="1786"/>
          <ac:spMkLst>
            <pc:docMk/>
            <pc:sldMk cId="3861986293" sldId="2147470583"/>
            <ac:spMk id="2" creationId="{00347D79-9563-C73D-94EA-97CC3742AEAE}"/>
          </ac:spMkLst>
        </pc:spChg>
        <pc:spChg chg="add mod ord">
          <ac:chgData name="Dwayne Natwick" userId="d11f0013982d5c78" providerId="Windows Live" clId="Web-{BADFC5F9-7469-4C33-B617-8367941D32AF}" dt="2023-09-07T18:46:56.855" v="1786"/>
          <ac:spMkLst>
            <pc:docMk/>
            <pc:sldMk cId="3861986293" sldId="2147470583"/>
            <ac:spMk id="3" creationId="{B292C898-D7C5-5588-2756-41BF32174685}"/>
          </ac:spMkLst>
        </pc:spChg>
      </pc:sldChg>
      <pc:sldMasterChg chg="addSldLayout">
        <pc:chgData name="Dwayne Natwick" userId="d11f0013982d5c78" providerId="Windows Live" clId="Web-{BADFC5F9-7469-4C33-B617-8367941D32AF}" dt="2023-09-07T18:17:21.625" v="1030"/>
        <pc:sldMasterMkLst>
          <pc:docMk/>
          <pc:sldMasterMk cId="2100427194" sldId="2147483660"/>
        </pc:sldMasterMkLst>
        <pc:sldLayoutChg chg="add">
          <pc:chgData name="Dwayne Natwick" userId="d11f0013982d5c78" providerId="Windows Live" clId="Web-{BADFC5F9-7469-4C33-B617-8367941D32AF}" dt="2023-09-07T17:46:29.753" v="7"/>
          <pc:sldLayoutMkLst>
            <pc:docMk/>
            <pc:sldMasterMk cId="2100427194" sldId="2147483660"/>
            <pc:sldLayoutMk cId="1500657544" sldId="2147483681"/>
          </pc:sldLayoutMkLst>
        </pc:sldLayoutChg>
        <pc:sldLayoutChg chg="add">
          <pc:chgData name="Dwayne Natwick" userId="d11f0013982d5c78" providerId="Windows Live" clId="Web-{BADFC5F9-7469-4C33-B617-8367941D32AF}" dt="2023-09-07T17:57:56.753" v="157"/>
          <pc:sldLayoutMkLst>
            <pc:docMk/>
            <pc:sldMasterMk cId="2100427194" sldId="2147483660"/>
            <pc:sldLayoutMk cId="2927091392" sldId="2147483682"/>
          </pc:sldLayoutMkLst>
        </pc:sldLayoutChg>
        <pc:sldLayoutChg chg="add">
          <pc:chgData name="Dwayne Natwick" userId="d11f0013982d5c78" providerId="Windows Live" clId="Web-{BADFC5F9-7469-4C33-B617-8367941D32AF}" dt="2023-09-07T18:17:21.625" v="1030"/>
          <pc:sldLayoutMkLst>
            <pc:docMk/>
            <pc:sldMasterMk cId="2100427194" sldId="2147483660"/>
            <pc:sldLayoutMk cId="1007200506" sldId="2147483683"/>
          </pc:sldLayoutMkLst>
        </pc:sldLayoutChg>
      </pc:sldMasterChg>
    </pc:docChg>
  </pc:docChgLst>
</pc:chgInfo>
</file>

<file path=ppt/diagrams/_rels/data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ata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7F391C-A256-400C-9CDF-ECED8AA0134E}"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EFD8A478-7BB2-4D08-B79D-AC213AE3D595}">
      <dgm:prSet/>
      <dgm:spPr/>
      <dgm:t>
        <a:bodyPr/>
        <a:lstStyle/>
        <a:p>
          <a:r>
            <a:rPr lang="en-US"/>
            <a:t>Customers</a:t>
          </a:r>
        </a:p>
      </dgm:t>
    </dgm:pt>
    <dgm:pt modelId="{2D3D1480-DE28-448A-B361-E6FC213F4E9C}" type="parTrans" cxnId="{09D773B2-A4E9-49F5-9CCA-0DC6354C8314}">
      <dgm:prSet/>
      <dgm:spPr/>
      <dgm:t>
        <a:bodyPr/>
        <a:lstStyle/>
        <a:p>
          <a:endParaRPr lang="en-US"/>
        </a:p>
      </dgm:t>
    </dgm:pt>
    <dgm:pt modelId="{8DAF6BAE-DF45-48B1-9DB2-BFB72992E972}" type="sibTrans" cxnId="{09D773B2-A4E9-49F5-9CCA-0DC6354C8314}">
      <dgm:prSet/>
      <dgm:spPr/>
      <dgm:t>
        <a:bodyPr/>
        <a:lstStyle/>
        <a:p>
          <a:endParaRPr lang="en-US"/>
        </a:p>
      </dgm:t>
    </dgm:pt>
    <dgm:pt modelId="{619042FF-CAA1-4739-A049-F8AAE1B59F73}">
      <dgm:prSet/>
      <dgm:spPr/>
      <dgm:t>
        <a:bodyPr/>
        <a:lstStyle/>
        <a:p>
          <a:r>
            <a:rPr lang="en-US"/>
            <a:t>Searchable tool</a:t>
          </a:r>
        </a:p>
      </dgm:t>
    </dgm:pt>
    <dgm:pt modelId="{1E117846-354F-4280-B054-02581A9FD411}" type="parTrans" cxnId="{7D1C6326-8DDC-4424-902B-A5CB1F2893E4}">
      <dgm:prSet/>
      <dgm:spPr/>
      <dgm:t>
        <a:bodyPr/>
        <a:lstStyle/>
        <a:p>
          <a:endParaRPr lang="en-US"/>
        </a:p>
      </dgm:t>
    </dgm:pt>
    <dgm:pt modelId="{7952EBDE-6A36-4A9C-9DD1-8189B0B233EB}" type="sibTrans" cxnId="{7D1C6326-8DDC-4424-902B-A5CB1F2893E4}">
      <dgm:prSet/>
      <dgm:spPr/>
      <dgm:t>
        <a:bodyPr/>
        <a:lstStyle/>
        <a:p>
          <a:endParaRPr lang="en-US"/>
        </a:p>
      </dgm:t>
    </dgm:pt>
    <dgm:pt modelId="{F1E10979-2607-4FF0-B634-D81F0CC3CD3D}">
      <dgm:prSet/>
      <dgm:spPr/>
      <dgm:t>
        <a:bodyPr/>
        <a:lstStyle/>
        <a:p>
          <a:r>
            <a:rPr lang="en-US"/>
            <a:t>Trial licenses available</a:t>
          </a:r>
        </a:p>
      </dgm:t>
    </dgm:pt>
    <dgm:pt modelId="{4309CC70-0E02-45D1-B3E6-CF64F89AA5A6}" type="parTrans" cxnId="{05D79A4D-7090-43C1-A3F7-0B4EF0413C38}">
      <dgm:prSet/>
      <dgm:spPr/>
      <dgm:t>
        <a:bodyPr/>
        <a:lstStyle/>
        <a:p>
          <a:endParaRPr lang="en-US"/>
        </a:p>
      </dgm:t>
    </dgm:pt>
    <dgm:pt modelId="{B5558348-BB09-473C-A39E-E9CB35C7CD31}" type="sibTrans" cxnId="{05D79A4D-7090-43C1-A3F7-0B4EF0413C38}">
      <dgm:prSet/>
      <dgm:spPr/>
      <dgm:t>
        <a:bodyPr/>
        <a:lstStyle/>
        <a:p>
          <a:endParaRPr lang="en-US"/>
        </a:p>
      </dgm:t>
    </dgm:pt>
    <dgm:pt modelId="{446E7E60-E597-4D27-B95F-65A85882C2B4}">
      <dgm:prSet/>
      <dgm:spPr/>
      <dgm:t>
        <a:bodyPr/>
        <a:lstStyle/>
        <a:p>
          <a:r>
            <a:rPr lang="en-US"/>
            <a:t>Easily buy and deploy solutions</a:t>
          </a:r>
        </a:p>
      </dgm:t>
    </dgm:pt>
    <dgm:pt modelId="{412F4AC1-2D64-43BD-A875-632B9450BA80}" type="parTrans" cxnId="{EA23FBF7-EA78-4E9C-8EC8-9C100848B181}">
      <dgm:prSet/>
      <dgm:spPr/>
      <dgm:t>
        <a:bodyPr/>
        <a:lstStyle/>
        <a:p>
          <a:endParaRPr lang="en-US"/>
        </a:p>
      </dgm:t>
    </dgm:pt>
    <dgm:pt modelId="{2B58BD01-5A40-4D75-8E1A-EF811B385754}" type="sibTrans" cxnId="{EA23FBF7-EA78-4E9C-8EC8-9C100848B181}">
      <dgm:prSet/>
      <dgm:spPr/>
      <dgm:t>
        <a:bodyPr/>
        <a:lstStyle/>
        <a:p>
          <a:endParaRPr lang="en-US"/>
        </a:p>
      </dgm:t>
    </dgm:pt>
    <dgm:pt modelId="{C7486E6E-F549-4CC7-AB09-AC03B9EE0730}">
      <dgm:prSet/>
      <dgm:spPr/>
      <dgm:t>
        <a:bodyPr/>
        <a:lstStyle/>
        <a:p>
          <a:r>
            <a:rPr lang="en-US"/>
            <a:t>Use existing Microsoft purchase agreements for consolidated invoice</a:t>
          </a:r>
        </a:p>
      </dgm:t>
    </dgm:pt>
    <dgm:pt modelId="{90D30231-2209-47C2-A0FF-32CDDF94E087}" type="parTrans" cxnId="{46B87D5B-30CF-47EA-808E-29BCF2E1CA5B}">
      <dgm:prSet/>
      <dgm:spPr/>
      <dgm:t>
        <a:bodyPr/>
        <a:lstStyle/>
        <a:p>
          <a:endParaRPr lang="en-US"/>
        </a:p>
      </dgm:t>
    </dgm:pt>
    <dgm:pt modelId="{3D5BE2FE-0CE4-4444-BFF5-32EEF1812DAA}" type="sibTrans" cxnId="{46B87D5B-30CF-47EA-808E-29BCF2E1CA5B}">
      <dgm:prSet/>
      <dgm:spPr/>
      <dgm:t>
        <a:bodyPr/>
        <a:lstStyle/>
        <a:p>
          <a:endParaRPr lang="en-US"/>
        </a:p>
      </dgm:t>
    </dgm:pt>
    <dgm:pt modelId="{180D1098-2835-45C7-9647-BD351ED14D2F}">
      <dgm:prSet/>
      <dgm:spPr/>
      <dgm:t>
        <a:bodyPr/>
        <a:lstStyle/>
        <a:p>
          <a:r>
            <a:rPr lang="en-US"/>
            <a:t>Partners</a:t>
          </a:r>
        </a:p>
      </dgm:t>
    </dgm:pt>
    <dgm:pt modelId="{ED8AA79E-B139-4996-A0CD-20DA74A70FD9}" type="parTrans" cxnId="{34E79714-3261-45BF-956E-6096631A9618}">
      <dgm:prSet/>
      <dgm:spPr/>
      <dgm:t>
        <a:bodyPr/>
        <a:lstStyle/>
        <a:p>
          <a:endParaRPr lang="en-US"/>
        </a:p>
      </dgm:t>
    </dgm:pt>
    <dgm:pt modelId="{7E0163A6-F298-4915-9B22-066A41283946}" type="sibTrans" cxnId="{34E79714-3261-45BF-956E-6096631A9618}">
      <dgm:prSet/>
      <dgm:spPr/>
      <dgm:t>
        <a:bodyPr/>
        <a:lstStyle/>
        <a:p>
          <a:endParaRPr lang="en-US"/>
        </a:p>
      </dgm:t>
    </dgm:pt>
    <dgm:pt modelId="{9436B5B7-A631-4DAC-9DED-3AE28D872DD8}">
      <dgm:prSet/>
      <dgm:spPr/>
      <dgm:t>
        <a:bodyPr/>
        <a:lstStyle/>
        <a:p>
          <a:r>
            <a:rPr lang="en-US"/>
            <a:t>Test solutions in Microsoft Azure infrastructure</a:t>
          </a:r>
        </a:p>
      </dgm:t>
    </dgm:pt>
    <dgm:pt modelId="{FE500843-AA10-42C4-BA7C-643B2AEFAC57}" type="parTrans" cxnId="{46D632CC-4552-4E8F-8722-22E80188061A}">
      <dgm:prSet/>
      <dgm:spPr/>
      <dgm:t>
        <a:bodyPr/>
        <a:lstStyle/>
        <a:p>
          <a:endParaRPr lang="en-US"/>
        </a:p>
      </dgm:t>
    </dgm:pt>
    <dgm:pt modelId="{AAD1639D-3A31-495C-B7C9-694E43FC1794}" type="sibTrans" cxnId="{46D632CC-4552-4E8F-8722-22E80188061A}">
      <dgm:prSet/>
      <dgm:spPr/>
      <dgm:t>
        <a:bodyPr/>
        <a:lstStyle/>
        <a:p>
          <a:endParaRPr lang="en-US"/>
        </a:p>
      </dgm:t>
    </dgm:pt>
    <dgm:pt modelId="{2FEBDDC1-0A18-47DE-A151-2DD9297AE6FE}">
      <dgm:prSet/>
      <dgm:spPr/>
      <dgm:t>
        <a:bodyPr/>
        <a:lstStyle/>
        <a:p>
          <a:r>
            <a:rPr lang="en-US"/>
            <a:t>Create your own offers for an additional sales and marketing channel</a:t>
          </a:r>
        </a:p>
      </dgm:t>
    </dgm:pt>
    <dgm:pt modelId="{D360D997-3464-4993-8021-7B45729FECC1}" type="parTrans" cxnId="{6D63DC52-51E2-4AEF-8E08-10339492EF99}">
      <dgm:prSet/>
      <dgm:spPr/>
      <dgm:t>
        <a:bodyPr/>
        <a:lstStyle/>
        <a:p>
          <a:endParaRPr lang="en-US"/>
        </a:p>
      </dgm:t>
    </dgm:pt>
    <dgm:pt modelId="{927D65EA-3250-4B4B-954F-28AE73EAB7C8}" type="sibTrans" cxnId="{6D63DC52-51E2-4AEF-8E08-10339492EF99}">
      <dgm:prSet/>
      <dgm:spPr/>
      <dgm:t>
        <a:bodyPr/>
        <a:lstStyle/>
        <a:p>
          <a:endParaRPr lang="en-US"/>
        </a:p>
      </dgm:t>
    </dgm:pt>
    <dgm:pt modelId="{32FCD486-9B5E-4033-84F8-612BB29CCB12}">
      <dgm:prSet/>
      <dgm:spPr/>
      <dgm:t>
        <a:bodyPr/>
        <a:lstStyle/>
        <a:p>
          <a:r>
            <a:rPr lang="en-US"/>
            <a:t>Reach more customers</a:t>
          </a:r>
        </a:p>
      </dgm:t>
    </dgm:pt>
    <dgm:pt modelId="{FD0D9E41-980B-4CE5-9D9B-9F08BD23031F}" type="parTrans" cxnId="{EDA43533-FA89-4CFB-B157-A1CCE54492D1}">
      <dgm:prSet/>
      <dgm:spPr/>
      <dgm:t>
        <a:bodyPr/>
        <a:lstStyle/>
        <a:p>
          <a:endParaRPr lang="en-US"/>
        </a:p>
      </dgm:t>
    </dgm:pt>
    <dgm:pt modelId="{F2B0E20E-B21A-4C41-B62A-48E87FAEA834}" type="sibTrans" cxnId="{EDA43533-FA89-4CFB-B157-A1CCE54492D1}">
      <dgm:prSet/>
      <dgm:spPr/>
      <dgm:t>
        <a:bodyPr/>
        <a:lstStyle/>
        <a:p>
          <a:endParaRPr lang="en-US"/>
        </a:p>
      </dgm:t>
    </dgm:pt>
    <dgm:pt modelId="{D24A75C6-B20F-4236-A9C7-7745D83DF7F8}" type="pres">
      <dgm:prSet presAssocID="{B67F391C-A256-400C-9CDF-ECED8AA0134E}" presName="Name0" presStyleCnt="0">
        <dgm:presLayoutVars>
          <dgm:dir/>
          <dgm:animLvl val="lvl"/>
          <dgm:resizeHandles val="exact"/>
        </dgm:presLayoutVars>
      </dgm:prSet>
      <dgm:spPr/>
    </dgm:pt>
    <dgm:pt modelId="{180D7B1E-0C0D-46A4-9453-B84F846C9860}" type="pres">
      <dgm:prSet presAssocID="{EFD8A478-7BB2-4D08-B79D-AC213AE3D595}" presName="linNode" presStyleCnt="0"/>
      <dgm:spPr/>
    </dgm:pt>
    <dgm:pt modelId="{D320E2F0-CCF0-4AF2-9463-C12CAE11DD58}" type="pres">
      <dgm:prSet presAssocID="{EFD8A478-7BB2-4D08-B79D-AC213AE3D595}" presName="parentText" presStyleLbl="node1" presStyleIdx="0" presStyleCnt="2">
        <dgm:presLayoutVars>
          <dgm:chMax val="1"/>
          <dgm:bulletEnabled val="1"/>
        </dgm:presLayoutVars>
      </dgm:prSet>
      <dgm:spPr/>
    </dgm:pt>
    <dgm:pt modelId="{6E0F82A4-A1C0-43AF-8189-756E948F4899}" type="pres">
      <dgm:prSet presAssocID="{EFD8A478-7BB2-4D08-B79D-AC213AE3D595}" presName="descendantText" presStyleLbl="alignAccFollowNode1" presStyleIdx="0" presStyleCnt="2">
        <dgm:presLayoutVars>
          <dgm:bulletEnabled val="1"/>
        </dgm:presLayoutVars>
      </dgm:prSet>
      <dgm:spPr/>
    </dgm:pt>
    <dgm:pt modelId="{58D4FB8F-C609-48FB-A001-6C9E48BC52CA}" type="pres">
      <dgm:prSet presAssocID="{8DAF6BAE-DF45-48B1-9DB2-BFB72992E972}" presName="sp" presStyleCnt="0"/>
      <dgm:spPr/>
    </dgm:pt>
    <dgm:pt modelId="{B34250D4-3FDA-4298-B8FA-E3AE034105F0}" type="pres">
      <dgm:prSet presAssocID="{180D1098-2835-45C7-9647-BD351ED14D2F}" presName="linNode" presStyleCnt="0"/>
      <dgm:spPr/>
    </dgm:pt>
    <dgm:pt modelId="{7896717C-DCF7-431F-A814-13A2C0BF99B3}" type="pres">
      <dgm:prSet presAssocID="{180D1098-2835-45C7-9647-BD351ED14D2F}" presName="parentText" presStyleLbl="node1" presStyleIdx="1" presStyleCnt="2">
        <dgm:presLayoutVars>
          <dgm:chMax val="1"/>
          <dgm:bulletEnabled val="1"/>
        </dgm:presLayoutVars>
      </dgm:prSet>
      <dgm:spPr/>
    </dgm:pt>
    <dgm:pt modelId="{D60B7971-9744-4CAF-A5AE-CAAD9661EF26}" type="pres">
      <dgm:prSet presAssocID="{180D1098-2835-45C7-9647-BD351ED14D2F}" presName="descendantText" presStyleLbl="alignAccFollowNode1" presStyleIdx="1" presStyleCnt="2">
        <dgm:presLayoutVars>
          <dgm:bulletEnabled val="1"/>
        </dgm:presLayoutVars>
      </dgm:prSet>
      <dgm:spPr/>
    </dgm:pt>
  </dgm:ptLst>
  <dgm:cxnLst>
    <dgm:cxn modelId="{76B9050D-ED97-4AB1-9F8F-9A0D0AA3132C}" type="presOf" srcId="{B67F391C-A256-400C-9CDF-ECED8AA0134E}" destId="{D24A75C6-B20F-4236-A9C7-7745D83DF7F8}" srcOrd="0" destOrd="0" presId="urn:microsoft.com/office/officeart/2005/8/layout/vList5"/>
    <dgm:cxn modelId="{34E79714-3261-45BF-956E-6096631A9618}" srcId="{B67F391C-A256-400C-9CDF-ECED8AA0134E}" destId="{180D1098-2835-45C7-9647-BD351ED14D2F}" srcOrd="1" destOrd="0" parTransId="{ED8AA79E-B139-4996-A0CD-20DA74A70FD9}" sibTransId="{7E0163A6-F298-4915-9B22-066A41283946}"/>
    <dgm:cxn modelId="{26C43E15-B7A5-447C-9EDF-5F3C2AE1137D}" type="presOf" srcId="{180D1098-2835-45C7-9647-BD351ED14D2F}" destId="{7896717C-DCF7-431F-A814-13A2C0BF99B3}" srcOrd="0" destOrd="0" presId="urn:microsoft.com/office/officeart/2005/8/layout/vList5"/>
    <dgm:cxn modelId="{7D1C6326-8DDC-4424-902B-A5CB1F2893E4}" srcId="{EFD8A478-7BB2-4D08-B79D-AC213AE3D595}" destId="{619042FF-CAA1-4739-A049-F8AAE1B59F73}" srcOrd="0" destOrd="0" parTransId="{1E117846-354F-4280-B054-02581A9FD411}" sibTransId="{7952EBDE-6A36-4A9C-9DD1-8189B0B233EB}"/>
    <dgm:cxn modelId="{EDA43533-FA89-4CFB-B157-A1CCE54492D1}" srcId="{180D1098-2835-45C7-9647-BD351ED14D2F}" destId="{32FCD486-9B5E-4033-84F8-612BB29CCB12}" srcOrd="2" destOrd="0" parTransId="{FD0D9E41-980B-4CE5-9D9B-9F08BD23031F}" sibTransId="{F2B0E20E-B21A-4C41-B62A-48E87FAEA834}"/>
    <dgm:cxn modelId="{8D3C3E3B-885A-476A-958C-95C0B6824558}" type="presOf" srcId="{EFD8A478-7BB2-4D08-B79D-AC213AE3D595}" destId="{D320E2F0-CCF0-4AF2-9463-C12CAE11DD58}" srcOrd="0" destOrd="0" presId="urn:microsoft.com/office/officeart/2005/8/layout/vList5"/>
    <dgm:cxn modelId="{41773A5B-5580-4098-A416-25AEF5C5D98A}" type="presOf" srcId="{C7486E6E-F549-4CC7-AB09-AC03B9EE0730}" destId="{6E0F82A4-A1C0-43AF-8189-756E948F4899}" srcOrd="0" destOrd="3" presId="urn:microsoft.com/office/officeart/2005/8/layout/vList5"/>
    <dgm:cxn modelId="{46B87D5B-30CF-47EA-808E-29BCF2E1CA5B}" srcId="{EFD8A478-7BB2-4D08-B79D-AC213AE3D595}" destId="{C7486E6E-F549-4CC7-AB09-AC03B9EE0730}" srcOrd="3" destOrd="0" parTransId="{90D30231-2209-47C2-A0FF-32CDDF94E087}" sibTransId="{3D5BE2FE-0CE4-4444-BFF5-32EEF1812DAA}"/>
    <dgm:cxn modelId="{F2A5EB44-7527-45D6-A7F1-FF65DFB4A425}" type="presOf" srcId="{2FEBDDC1-0A18-47DE-A151-2DD9297AE6FE}" destId="{D60B7971-9744-4CAF-A5AE-CAAD9661EF26}" srcOrd="0" destOrd="1" presId="urn:microsoft.com/office/officeart/2005/8/layout/vList5"/>
    <dgm:cxn modelId="{16C57665-BD5E-4534-AFC5-B5608A5B4D24}" type="presOf" srcId="{446E7E60-E597-4D27-B95F-65A85882C2B4}" destId="{6E0F82A4-A1C0-43AF-8189-756E948F4899}" srcOrd="0" destOrd="2" presId="urn:microsoft.com/office/officeart/2005/8/layout/vList5"/>
    <dgm:cxn modelId="{218EB34A-E8D8-4712-ABFB-3076347B512B}" type="presOf" srcId="{F1E10979-2607-4FF0-B634-D81F0CC3CD3D}" destId="{6E0F82A4-A1C0-43AF-8189-756E948F4899}" srcOrd="0" destOrd="1" presId="urn:microsoft.com/office/officeart/2005/8/layout/vList5"/>
    <dgm:cxn modelId="{AA981D4B-FAF4-4125-9682-E534F027569B}" type="presOf" srcId="{619042FF-CAA1-4739-A049-F8AAE1B59F73}" destId="{6E0F82A4-A1C0-43AF-8189-756E948F4899}" srcOrd="0" destOrd="0" presId="urn:microsoft.com/office/officeart/2005/8/layout/vList5"/>
    <dgm:cxn modelId="{493C6D6B-9CAA-47DE-9A3F-1AFD23F0F3B0}" type="presOf" srcId="{9436B5B7-A631-4DAC-9DED-3AE28D872DD8}" destId="{D60B7971-9744-4CAF-A5AE-CAAD9661EF26}" srcOrd="0" destOrd="0" presId="urn:microsoft.com/office/officeart/2005/8/layout/vList5"/>
    <dgm:cxn modelId="{05D79A4D-7090-43C1-A3F7-0B4EF0413C38}" srcId="{EFD8A478-7BB2-4D08-B79D-AC213AE3D595}" destId="{F1E10979-2607-4FF0-B634-D81F0CC3CD3D}" srcOrd="1" destOrd="0" parTransId="{4309CC70-0E02-45D1-B3E6-CF64F89AA5A6}" sibTransId="{B5558348-BB09-473C-A39E-E9CB35C7CD31}"/>
    <dgm:cxn modelId="{B9E03272-4181-412C-B5B6-3195205EFDF1}" type="presOf" srcId="{32FCD486-9B5E-4033-84F8-612BB29CCB12}" destId="{D60B7971-9744-4CAF-A5AE-CAAD9661EF26}" srcOrd="0" destOrd="2" presId="urn:microsoft.com/office/officeart/2005/8/layout/vList5"/>
    <dgm:cxn modelId="{6D63DC52-51E2-4AEF-8E08-10339492EF99}" srcId="{180D1098-2835-45C7-9647-BD351ED14D2F}" destId="{2FEBDDC1-0A18-47DE-A151-2DD9297AE6FE}" srcOrd="1" destOrd="0" parTransId="{D360D997-3464-4993-8021-7B45729FECC1}" sibTransId="{927D65EA-3250-4B4B-954F-28AE73EAB7C8}"/>
    <dgm:cxn modelId="{09D773B2-A4E9-49F5-9CCA-0DC6354C8314}" srcId="{B67F391C-A256-400C-9CDF-ECED8AA0134E}" destId="{EFD8A478-7BB2-4D08-B79D-AC213AE3D595}" srcOrd="0" destOrd="0" parTransId="{2D3D1480-DE28-448A-B361-E6FC213F4E9C}" sibTransId="{8DAF6BAE-DF45-48B1-9DB2-BFB72992E972}"/>
    <dgm:cxn modelId="{46D632CC-4552-4E8F-8722-22E80188061A}" srcId="{180D1098-2835-45C7-9647-BD351ED14D2F}" destId="{9436B5B7-A631-4DAC-9DED-3AE28D872DD8}" srcOrd="0" destOrd="0" parTransId="{FE500843-AA10-42C4-BA7C-643B2AEFAC57}" sibTransId="{AAD1639D-3A31-495C-B7C9-694E43FC1794}"/>
    <dgm:cxn modelId="{EA23FBF7-EA78-4E9C-8EC8-9C100848B181}" srcId="{EFD8A478-7BB2-4D08-B79D-AC213AE3D595}" destId="{446E7E60-E597-4D27-B95F-65A85882C2B4}" srcOrd="2" destOrd="0" parTransId="{412F4AC1-2D64-43BD-A875-632B9450BA80}" sibTransId="{2B58BD01-5A40-4D75-8E1A-EF811B385754}"/>
    <dgm:cxn modelId="{EC1E24AB-3B63-494D-B7E4-72A665421813}" type="presParOf" srcId="{D24A75C6-B20F-4236-A9C7-7745D83DF7F8}" destId="{180D7B1E-0C0D-46A4-9453-B84F846C9860}" srcOrd="0" destOrd="0" presId="urn:microsoft.com/office/officeart/2005/8/layout/vList5"/>
    <dgm:cxn modelId="{674B59F6-3B8A-4882-92A4-B51D034A3803}" type="presParOf" srcId="{180D7B1E-0C0D-46A4-9453-B84F846C9860}" destId="{D320E2F0-CCF0-4AF2-9463-C12CAE11DD58}" srcOrd="0" destOrd="0" presId="urn:microsoft.com/office/officeart/2005/8/layout/vList5"/>
    <dgm:cxn modelId="{7BA25B24-8028-44F0-9C48-49533E0C95EB}" type="presParOf" srcId="{180D7B1E-0C0D-46A4-9453-B84F846C9860}" destId="{6E0F82A4-A1C0-43AF-8189-756E948F4899}" srcOrd="1" destOrd="0" presId="urn:microsoft.com/office/officeart/2005/8/layout/vList5"/>
    <dgm:cxn modelId="{5E3552FE-5C37-40FF-9C3E-FAFBE89EF3FE}" type="presParOf" srcId="{D24A75C6-B20F-4236-A9C7-7745D83DF7F8}" destId="{58D4FB8F-C609-48FB-A001-6C9E48BC52CA}" srcOrd="1" destOrd="0" presId="urn:microsoft.com/office/officeart/2005/8/layout/vList5"/>
    <dgm:cxn modelId="{0B69B533-B68D-446C-A78A-3975E94DFBD7}" type="presParOf" srcId="{D24A75C6-B20F-4236-A9C7-7745D83DF7F8}" destId="{B34250D4-3FDA-4298-B8FA-E3AE034105F0}" srcOrd="2" destOrd="0" presId="urn:microsoft.com/office/officeart/2005/8/layout/vList5"/>
    <dgm:cxn modelId="{A6C2C95A-05EB-4DD7-AED1-8347FC27A14B}" type="presParOf" srcId="{B34250D4-3FDA-4298-B8FA-E3AE034105F0}" destId="{7896717C-DCF7-431F-A814-13A2C0BF99B3}" srcOrd="0" destOrd="0" presId="urn:microsoft.com/office/officeart/2005/8/layout/vList5"/>
    <dgm:cxn modelId="{782BF9C3-8EC4-4EEB-BDA3-BE4D310BBF13}" type="presParOf" srcId="{B34250D4-3FDA-4298-B8FA-E3AE034105F0}" destId="{D60B7971-9744-4CAF-A5AE-CAAD9661EF2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703539A-C451-4D4F-82E8-F70AE3CBF536}" type="doc">
      <dgm:prSet loTypeId="urn:microsoft.com/office/officeart/2005/8/layout/hList1" loCatId="list" qsTypeId="urn:microsoft.com/office/officeart/2005/8/quickstyle/simple4" qsCatId="simple" csTypeId="urn:microsoft.com/office/officeart/2005/8/colors/accent2_2" csCatId="accent2"/>
      <dgm:spPr/>
      <dgm:t>
        <a:bodyPr/>
        <a:lstStyle/>
        <a:p>
          <a:endParaRPr lang="en-US"/>
        </a:p>
      </dgm:t>
    </dgm:pt>
    <dgm:pt modelId="{278F678D-C476-4AF3-841A-929EB5AED855}">
      <dgm:prSet/>
      <dgm:spPr/>
      <dgm:t>
        <a:bodyPr/>
        <a:lstStyle/>
        <a:p>
          <a:r>
            <a:rPr lang="en-US" baseline="0"/>
            <a:t>Requirements</a:t>
          </a:r>
          <a:endParaRPr lang="en-US"/>
        </a:p>
      </dgm:t>
    </dgm:pt>
    <dgm:pt modelId="{069090C3-FDED-4B18-B00D-D3ABA09A8763}" type="parTrans" cxnId="{F6F98EFA-C1CD-451A-8BF1-E11FC7FDBE93}">
      <dgm:prSet/>
      <dgm:spPr/>
      <dgm:t>
        <a:bodyPr/>
        <a:lstStyle/>
        <a:p>
          <a:endParaRPr lang="en-US"/>
        </a:p>
      </dgm:t>
    </dgm:pt>
    <dgm:pt modelId="{AFDB45C1-B4EB-48F5-BF78-E230E700F73E}" type="sibTrans" cxnId="{F6F98EFA-C1CD-451A-8BF1-E11FC7FDBE93}">
      <dgm:prSet/>
      <dgm:spPr/>
      <dgm:t>
        <a:bodyPr/>
        <a:lstStyle/>
        <a:p>
          <a:endParaRPr lang="en-US"/>
        </a:p>
      </dgm:t>
    </dgm:pt>
    <dgm:pt modelId="{FBDDD1EC-2645-46AE-8DC7-D405BD6F166B}">
      <dgm:prSet/>
      <dgm:spPr/>
      <dgm:t>
        <a:bodyPr/>
        <a:lstStyle/>
        <a:p>
          <a:r>
            <a:rPr lang="en-US" baseline="0"/>
            <a:t>Have an Azure subscription</a:t>
          </a:r>
          <a:endParaRPr lang="en-US"/>
        </a:p>
      </dgm:t>
    </dgm:pt>
    <dgm:pt modelId="{CB43CEA8-8DC4-4229-80E6-B263C51D0C65}" type="parTrans" cxnId="{8D90DB68-0899-454B-A0CA-8463827AE685}">
      <dgm:prSet/>
      <dgm:spPr/>
      <dgm:t>
        <a:bodyPr/>
        <a:lstStyle/>
        <a:p>
          <a:endParaRPr lang="en-US"/>
        </a:p>
      </dgm:t>
    </dgm:pt>
    <dgm:pt modelId="{AAB04276-062E-4D94-87E0-BF58E4E1C4A1}" type="sibTrans" cxnId="{8D90DB68-0899-454B-A0CA-8463827AE685}">
      <dgm:prSet/>
      <dgm:spPr/>
      <dgm:t>
        <a:bodyPr/>
        <a:lstStyle/>
        <a:p>
          <a:endParaRPr lang="en-US"/>
        </a:p>
      </dgm:t>
    </dgm:pt>
    <dgm:pt modelId="{7CE79EF6-4695-4112-A977-588840D9EEF6}">
      <dgm:prSet/>
      <dgm:spPr/>
      <dgm:t>
        <a:bodyPr/>
        <a:lstStyle/>
        <a:p>
          <a:r>
            <a:rPr lang="en-US" baseline="0"/>
            <a:t>Have permission to purchase from Azure Marketplace</a:t>
          </a:r>
          <a:endParaRPr lang="en-US"/>
        </a:p>
      </dgm:t>
    </dgm:pt>
    <dgm:pt modelId="{56C50CB8-68AB-43E1-AC14-DA9A9D44A3BC}" type="parTrans" cxnId="{60A083A5-07D9-4C2A-AF33-15E04C4B36B3}">
      <dgm:prSet/>
      <dgm:spPr/>
      <dgm:t>
        <a:bodyPr/>
        <a:lstStyle/>
        <a:p>
          <a:endParaRPr lang="en-US"/>
        </a:p>
      </dgm:t>
    </dgm:pt>
    <dgm:pt modelId="{96550C3E-884D-47BB-85D9-9914931719A1}" type="sibTrans" cxnId="{60A083A5-07D9-4C2A-AF33-15E04C4B36B3}">
      <dgm:prSet/>
      <dgm:spPr/>
      <dgm:t>
        <a:bodyPr/>
        <a:lstStyle/>
        <a:p>
          <a:endParaRPr lang="en-US"/>
        </a:p>
      </dgm:t>
    </dgm:pt>
    <dgm:pt modelId="{112E46B1-220A-4FA3-B0CD-68A76FFCFBF5}">
      <dgm:prSet/>
      <dgm:spPr/>
      <dgm:t>
        <a:bodyPr/>
        <a:lstStyle/>
        <a:p>
          <a:r>
            <a:rPr lang="en-US" baseline="0"/>
            <a:t>Discovery of SaaS offers through filters</a:t>
          </a:r>
          <a:endParaRPr lang="en-US"/>
        </a:p>
      </dgm:t>
    </dgm:pt>
    <dgm:pt modelId="{E9AFA68C-70C0-4487-810F-B749567D4E5A}" type="parTrans" cxnId="{5AAFFE6C-50FB-40BB-A5F3-F1A03E5E5F0E}">
      <dgm:prSet/>
      <dgm:spPr/>
      <dgm:t>
        <a:bodyPr/>
        <a:lstStyle/>
        <a:p>
          <a:endParaRPr lang="en-US"/>
        </a:p>
      </dgm:t>
    </dgm:pt>
    <dgm:pt modelId="{851FD837-989D-4102-A645-025ACF4067C7}" type="sibTrans" cxnId="{5AAFFE6C-50FB-40BB-A5F3-F1A03E5E5F0E}">
      <dgm:prSet/>
      <dgm:spPr/>
      <dgm:t>
        <a:bodyPr/>
        <a:lstStyle/>
        <a:p>
          <a:endParaRPr lang="en-US"/>
        </a:p>
      </dgm:t>
    </dgm:pt>
    <dgm:pt modelId="{97BF999A-7C1D-4AAE-9DF1-DC6E508AD797}">
      <dgm:prSet/>
      <dgm:spPr/>
      <dgm:t>
        <a:bodyPr/>
        <a:lstStyle/>
        <a:p>
          <a:r>
            <a:rPr lang="en-US" baseline="0"/>
            <a:t>Offer type</a:t>
          </a:r>
          <a:endParaRPr lang="en-US"/>
        </a:p>
      </dgm:t>
    </dgm:pt>
    <dgm:pt modelId="{379D80A5-D6AB-4AE8-B4B4-2B249900839C}" type="parTrans" cxnId="{60948029-9878-41EE-89A3-F14096D4AF0E}">
      <dgm:prSet/>
      <dgm:spPr/>
      <dgm:t>
        <a:bodyPr/>
        <a:lstStyle/>
        <a:p>
          <a:endParaRPr lang="en-US"/>
        </a:p>
      </dgm:t>
    </dgm:pt>
    <dgm:pt modelId="{97459120-8527-4C0E-BC86-10B4AB1E24F2}" type="sibTrans" cxnId="{60948029-9878-41EE-89A3-F14096D4AF0E}">
      <dgm:prSet/>
      <dgm:spPr/>
      <dgm:t>
        <a:bodyPr/>
        <a:lstStyle/>
        <a:p>
          <a:endParaRPr lang="en-US"/>
        </a:p>
      </dgm:t>
    </dgm:pt>
    <dgm:pt modelId="{4E2AB9A1-4D26-49D0-A2D2-521735979170}">
      <dgm:prSet/>
      <dgm:spPr/>
      <dgm:t>
        <a:bodyPr/>
        <a:lstStyle/>
        <a:p>
          <a:r>
            <a:rPr lang="en-US" baseline="0"/>
            <a:t>Private offers</a:t>
          </a:r>
          <a:endParaRPr lang="en-US"/>
        </a:p>
      </dgm:t>
    </dgm:pt>
    <dgm:pt modelId="{353E9B5B-203B-416D-BD1D-2204222A7E7E}" type="parTrans" cxnId="{D25D60E3-F6FC-450B-A886-BCE17DC0C3FA}">
      <dgm:prSet/>
      <dgm:spPr/>
      <dgm:t>
        <a:bodyPr/>
        <a:lstStyle/>
        <a:p>
          <a:endParaRPr lang="en-US"/>
        </a:p>
      </dgm:t>
    </dgm:pt>
    <dgm:pt modelId="{59881ECB-D974-40A0-A65F-D8666E84E143}" type="sibTrans" cxnId="{D25D60E3-F6FC-450B-A886-BCE17DC0C3FA}">
      <dgm:prSet/>
      <dgm:spPr/>
      <dgm:t>
        <a:bodyPr/>
        <a:lstStyle/>
        <a:p>
          <a:endParaRPr lang="en-US"/>
        </a:p>
      </dgm:t>
    </dgm:pt>
    <dgm:pt modelId="{4D4F4495-9C54-4117-BEF5-507CE44372A1}">
      <dgm:prSet/>
      <dgm:spPr/>
      <dgm:t>
        <a:bodyPr/>
        <a:lstStyle/>
        <a:p>
          <a:r>
            <a:rPr lang="en-US" baseline="0"/>
            <a:t>Overview</a:t>
          </a:r>
          <a:endParaRPr lang="en-US"/>
        </a:p>
      </dgm:t>
    </dgm:pt>
    <dgm:pt modelId="{617370E2-F35E-4623-B19B-4A60D29A8C00}" type="parTrans" cxnId="{500E3371-EA37-4348-90BE-1852CB361348}">
      <dgm:prSet/>
      <dgm:spPr/>
      <dgm:t>
        <a:bodyPr/>
        <a:lstStyle/>
        <a:p>
          <a:endParaRPr lang="en-US"/>
        </a:p>
      </dgm:t>
    </dgm:pt>
    <dgm:pt modelId="{43E8C58C-1112-4A0E-A1F0-90E076EFDFED}" type="sibTrans" cxnId="{500E3371-EA37-4348-90BE-1852CB361348}">
      <dgm:prSet/>
      <dgm:spPr/>
      <dgm:t>
        <a:bodyPr/>
        <a:lstStyle/>
        <a:p>
          <a:endParaRPr lang="en-US"/>
        </a:p>
      </dgm:t>
    </dgm:pt>
    <dgm:pt modelId="{DA31861B-D8B0-419A-87A8-DA8B1360BFF2}">
      <dgm:prSet/>
      <dgm:spPr/>
      <dgm:t>
        <a:bodyPr/>
        <a:lstStyle/>
        <a:p>
          <a:r>
            <a:rPr lang="en-US" baseline="0"/>
            <a:t>Plans + Pricing</a:t>
          </a:r>
          <a:endParaRPr lang="en-US"/>
        </a:p>
      </dgm:t>
    </dgm:pt>
    <dgm:pt modelId="{E87815B1-FF00-45A6-8CA2-006096C92705}" type="parTrans" cxnId="{24E5CB9B-64D3-425A-AE49-75E29D29EDDB}">
      <dgm:prSet/>
      <dgm:spPr/>
      <dgm:t>
        <a:bodyPr/>
        <a:lstStyle/>
        <a:p>
          <a:endParaRPr lang="en-US"/>
        </a:p>
      </dgm:t>
    </dgm:pt>
    <dgm:pt modelId="{8E3BBD21-24DC-4B51-8D1E-91F38985E32C}" type="sibTrans" cxnId="{24E5CB9B-64D3-425A-AE49-75E29D29EDDB}">
      <dgm:prSet/>
      <dgm:spPr/>
      <dgm:t>
        <a:bodyPr/>
        <a:lstStyle/>
        <a:p>
          <a:endParaRPr lang="en-US"/>
        </a:p>
      </dgm:t>
    </dgm:pt>
    <dgm:pt modelId="{7857722C-0440-452E-B6A5-04C8B5BE1878}">
      <dgm:prSet/>
      <dgm:spPr/>
      <dgm:t>
        <a:bodyPr/>
        <a:lstStyle/>
        <a:p>
          <a:r>
            <a:rPr lang="en-US" baseline="0"/>
            <a:t>Usage information + Support</a:t>
          </a:r>
          <a:endParaRPr lang="en-US"/>
        </a:p>
      </dgm:t>
    </dgm:pt>
    <dgm:pt modelId="{CDCE4031-1537-4675-8DA4-3EBBAAD76FA2}" type="parTrans" cxnId="{E24315E6-022B-40A4-B85D-C687F8304306}">
      <dgm:prSet/>
      <dgm:spPr/>
      <dgm:t>
        <a:bodyPr/>
        <a:lstStyle/>
        <a:p>
          <a:endParaRPr lang="en-US"/>
        </a:p>
      </dgm:t>
    </dgm:pt>
    <dgm:pt modelId="{F588C392-23FF-474C-967F-FAE02EF23085}" type="sibTrans" cxnId="{E24315E6-022B-40A4-B85D-C687F8304306}">
      <dgm:prSet/>
      <dgm:spPr/>
      <dgm:t>
        <a:bodyPr/>
        <a:lstStyle/>
        <a:p>
          <a:endParaRPr lang="en-US"/>
        </a:p>
      </dgm:t>
    </dgm:pt>
    <dgm:pt modelId="{14FE3DD9-39CB-449F-A157-B5519EAA6813}">
      <dgm:prSet/>
      <dgm:spPr/>
      <dgm:t>
        <a:bodyPr/>
        <a:lstStyle/>
        <a:p>
          <a:r>
            <a:rPr lang="en-US" baseline="0"/>
            <a:t>Ratings and Reviews</a:t>
          </a:r>
          <a:endParaRPr lang="en-US"/>
        </a:p>
      </dgm:t>
    </dgm:pt>
    <dgm:pt modelId="{FEF570B7-897B-4E83-A3EB-8D8319659C7C}" type="parTrans" cxnId="{6983C009-E867-407D-81B4-2366D7490EF9}">
      <dgm:prSet/>
      <dgm:spPr/>
      <dgm:t>
        <a:bodyPr/>
        <a:lstStyle/>
        <a:p>
          <a:endParaRPr lang="en-US"/>
        </a:p>
      </dgm:t>
    </dgm:pt>
    <dgm:pt modelId="{769EF043-6075-4CEE-8BA7-96EACAD65288}" type="sibTrans" cxnId="{6983C009-E867-407D-81B4-2366D7490EF9}">
      <dgm:prSet/>
      <dgm:spPr/>
      <dgm:t>
        <a:bodyPr/>
        <a:lstStyle/>
        <a:p>
          <a:endParaRPr lang="en-US"/>
        </a:p>
      </dgm:t>
    </dgm:pt>
    <dgm:pt modelId="{021DF272-257E-4F1C-B694-2DC5A6E65C03}">
      <dgm:prSet/>
      <dgm:spPr/>
      <dgm:t>
        <a:bodyPr/>
        <a:lstStyle/>
        <a:p>
          <a:r>
            <a:rPr lang="en-US" baseline="0"/>
            <a:t>Billing models</a:t>
          </a:r>
          <a:endParaRPr lang="en-US"/>
        </a:p>
      </dgm:t>
    </dgm:pt>
    <dgm:pt modelId="{001A0728-6826-46D7-8AB4-15489055B261}" type="parTrans" cxnId="{098C774B-3C93-44B9-ABDB-CDE2A74970A8}">
      <dgm:prSet/>
      <dgm:spPr/>
      <dgm:t>
        <a:bodyPr/>
        <a:lstStyle/>
        <a:p>
          <a:endParaRPr lang="en-US"/>
        </a:p>
      </dgm:t>
    </dgm:pt>
    <dgm:pt modelId="{8C685A8F-47E2-4B01-AF11-FB65FE22B08C}" type="sibTrans" cxnId="{098C774B-3C93-44B9-ABDB-CDE2A74970A8}">
      <dgm:prSet/>
      <dgm:spPr/>
      <dgm:t>
        <a:bodyPr/>
        <a:lstStyle/>
        <a:p>
          <a:endParaRPr lang="en-US"/>
        </a:p>
      </dgm:t>
    </dgm:pt>
    <dgm:pt modelId="{B6CBCF18-849F-4DBC-B926-313BEAD75A5F}">
      <dgm:prSet/>
      <dgm:spPr/>
      <dgm:t>
        <a:bodyPr/>
        <a:lstStyle/>
        <a:p>
          <a:r>
            <a:rPr lang="en-US" baseline="0"/>
            <a:t>Monthly</a:t>
          </a:r>
          <a:endParaRPr lang="en-US"/>
        </a:p>
      </dgm:t>
    </dgm:pt>
    <dgm:pt modelId="{0CE3178A-B20D-4401-BF11-00FFB911619D}" type="parTrans" cxnId="{0805C693-0E4C-406E-A80E-64CB05E8C0D3}">
      <dgm:prSet/>
      <dgm:spPr/>
      <dgm:t>
        <a:bodyPr/>
        <a:lstStyle/>
        <a:p>
          <a:endParaRPr lang="en-US"/>
        </a:p>
      </dgm:t>
    </dgm:pt>
    <dgm:pt modelId="{F4B2E687-4185-4FE3-92CC-ABAAD75E05A0}" type="sibTrans" cxnId="{0805C693-0E4C-406E-A80E-64CB05E8C0D3}">
      <dgm:prSet/>
      <dgm:spPr/>
      <dgm:t>
        <a:bodyPr/>
        <a:lstStyle/>
        <a:p>
          <a:endParaRPr lang="en-US"/>
        </a:p>
      </dgm:t>
    </dgm:pt>
    <dgm:pt modelId="{5F9CE416-D637-4601-A8D9-CDB559635F86}">
      <dgm:prSet/>
      <dgm:spPr/>
      <dgm:t>
        <a:bodyPr/>
        <a:lstStyle/>
        <a:p>
          <a:r>
            <a:rPr lang="en-US" baseline="0"/>
            <a:t>Annual (multi-year)</a:t>
          </a:r>
          <a:endParaRPr lang="en-US"/>
        </a:p>
      </dgm:t>
    </dgm:pt>
    <dgm:pt modelId="{14183204-E0ED-44D6-8CB0-6BE48C0F33D3}" type="parTrans" cxnId="{069A2BF6-26BF-4A79-9211-53A22D8B1570}">
      <dgm:prSet/>
      <dgm:spPr/>
      <dgm:t>
        <a:bodyPr/>
        <a:lstStyle/>
        <a:p>
          <a:endParaRPr lang="en-US"/>
        </a:p>
      </dgm:t>
    </dgm:pt>
    <dgm:pt modelId="{32F3EDF9-AC76-4FE4-95B2-5B6EFC8D3B87}" type="sibTrans" cxnId="{069A2BF6-26BF-4A79-9211-53A22D8B1570}">
      <dgm:prSet/>
      <dgm:spPr/>
      <dgm:t>
        <a:bodyPr/>
        <a:lstStyle/>
        <a:p>
          <a:endParaRPr lang="en-US"/>
        </a:p>
      </dgm:t>
    </dgm:pt>
    <dgm:pt modelId="{07481B43-6243-4717-B461-F710361F1A72}" type="pres">
      <dgm:prSet presAssocID="{6703539A-C451-4D4F-82E8-F70AE3CBF536}" presName="Name0" presStyleCnt="0">
        <dgm:presLayoutVars>
          <dgm:dir/>
          <dgm:animLvl val="lvl"/>
          <dgm:resizeHandles val="exact"/>
        </dgm:presLayoutVars>
      </dgm:prSet>
      <dgm:spPr/>
    </dgm:pt>
    <dgm:pt modelId="{D5880FA1-F57C-4BCB-A0FC-981CD1DB4FCC}" type="pres">
      <dgm:prSet presAssocID="{278F678D-C476-4AF3-841A-929EB5AED855}" presName="composite" presStyleCnt="0"/>
      <dgm:spPr/>
    </dgm:pt>
    <dgm:pt modelId="{4B670BEC-6173-4E03-BA35-B9F4930FBEAF}" type="pres">
      <dgm:prSet presAssocID="{278F678D-C476-4AF3-841A-929EB5AED855}" presName="parTx" presStyleLbl="alignNode1" presStyleIdx="0" presStyleCnt="3">
        <dgm:presLayoutVars>
          <dgm:chMax val="0"/>
          <dgm:chPref val="0"/>
          <dgm:bulletEnabled val="1"/>
        </dgm:presLayoutVars>
      </dgm:prSet>
      <dgm:spPr/>
    </dgm:pt>
    <dgm:pt modelId="{5F19CBB4-8CCA-411A-9DBD-938E9C1C1CF8}" type="pres">
      <dgm:prSet presAssocID="{278F678D-C476-4AF3-841A-929EB5AED855}" presName="desTx" presStyleLbl="alignAccFollowNode1" presStyleIdx="0" presStyleCnt="3">
        <dgm:presLayoutVars>
          <dgm:bulletEnabled val="1"/>
        </dgm:presLayoutVars>
      </dgm:prSet>
      <dgm:spPr/>
    </dgm:pt>
    <dgm:pt modelId="{B992DBA0-ADC6-4D76-A0C5-6A4CA116AA47}" type="pres">
      <dgm:prSet presAssocID="{AFDB45C1-B4EB-48F5-BF78-E230E700F73E}" presName="space" presStyleCnt="0"/>
      <dgm:spPr/>
    </dgm:pt>
    <dgm:pt modelId="{172486B9-528D-4B41-B8A3-BDA0075ED2EF}" type="pres">
      <dgm:prSet presAssocID="{112E46B1-220A-4FA3-B0CD-68A76FFCFBF5}" presName="composite" presStyleCnt="0"/>
      <dgm:spPr/>
    </dgm:pt>
    <dgm:pt modelId="{18897E8A-AF04-4AEF-BDC6-973ECC40234D}" type="pres">
      <dgm:prSet presAssocID="{112E46B1-220A-4FA3-B0CD-68A76FFCFBF5}" presName="parTx" presStyleLbl="alignNode1" presStyleIdx="1" presStyleCnt="3">
        <dgm:presLayoutVars>
          <dgm:chMax val="0"/>
          <dgm:chPref val="0"/>
          <dgm:bulletEnabled val="1"/>
        </dgm:presLayoutVars>
      </dgm:prSet>
      <dgm:spPr/>
    </dgm:pt>
    <dgm:pt modelId="{DD7992A8-8ACA-4D2A-9436-5D53C8C5703C}" type="pres">
      <dgm:prSet presAssocID="{112E46B1-220A-4FA3-B0CD-68A76FFCFBF5}" presName="desTx" presStyleLbl="alignAccFollowNode1" presStyleIdx="1" presStyleCnt="3">
        <dgm:presLayoutVars>
          <dgm:bulletEnabled val="1"/>
        </dgm:presLayoutVars>
      </dgm:prSet>
      <dgm:spPr/>
    </dgm:pt>
    <dgm:pt modelId="{96809ECE-5985-4EAC-8291-32010E84165E}" type="pres">
      <dgm:prSet presAssocID="{851FD837-989D-4102-A645-025ACF4067C7}" presName="space" presStyleCnt="0"/>
      <dgm:spPr/>
    </dgm:pt>
    <dgm:pt modelId="{F10B1E92-B957-4E30-A64C-A7CB99C1B351}" type="pres">
      <dgm:prSet presAssocID="{021DF272-257E-4F1C-B694-2DC5A6E65C03}" presName="composite" presStyleCnt="0"/>
      <dgm:spPr/>
    </dgm:pt>
    <dgm:pt modelId="{79FCC723-F7C2-4D5F-B48C-2828B608E9D8}" type="pres">
      <dgm:prSet presAssocID="{021DF272-257E-4F1C-B694-2DC5A6E65C03}" presName="parTx" presStyleLbl="alignNode1" presStyleIdx="2" presStyleCnt="3">
        <dgm:presLayoutVars>
          <dgm:chMax val="0"/>
          <dgm:chPref val="0"/>
          <dgm:bulletEnabled val="1"/>
        </dgm:presLayoutVars>
      </dgm:prSet>
      <dgm:spPr/>
    </dgm:pt>
    <dgm:pt modelId="{6B01AB2C-A753-46EB-B68C-DFED4C49EA33}" type="pres">
      <dgm:prSet presAssocID="{021DF272-257E-4F1C-B694-2DC5A6E65C03}" presName="desTx" presStyleLbl="alignAccFollowNode1" presStyleIdx="2" presStyleCnt="3">
        <dgm:presLayoutVars>
          <dgm:bulletEnabled val="1"/>
        </dgm:presLayoutVars>
      </dgm:prSet>
      <dgm:spPr/>
    </dgm:pt>
  </dgm:ptLst>
  <dgm:cxnLst>
    <dgm:cxn modelId="{6983C009-E867-407D-81B4-2366D7490EF9}" srcId="{112E46B1-220A-4FA3-B0CD-68A76FFCFBF5}" destId="{14FE3DD9-39CB-449F-A157-B5519EAA6813}" srcOrd="5" destOrd="0" parTransId="{FEF570B7-897B-4E83-A3EB-8D8319659C7C}" sibTransId="{769EF043-6075-4CEE-8BA7-96EACAD65288}"/>
    <dgm:cxn modelId="{1627CC0A-6955-49CE-B5BE-9C9E27D52081}" type="presOf" srcId="{B6CBCF18-849F-4DBC-B926-313BEAD75A5F}" destId="{6B01AB2C-A753-46EB-B68C-DFED4C49EA33}" srcOrd="0" destOrd="0" presId="urn:microsoft.com/office/officeart/2005/8/layout/hList1"/>
    <dgm:cxn modelId="{60948029-9878-41EE-89A3-F14096D4AF0E}" srcId="{112E46B1-220A-4FA3-B0CD-68A76FFCFBF5}" destId="{97BF999A-7C1D-4AAE-9DF1-DC6E508AD797}" srcOrd="0" destOrd="0" parTransId="{379D80A5-D6AB-4AE8-B4B4-2B249900839C}" sibTransId="{97459120-8527-4C0E-BC86-10B4AB1E24F2}"/>
    <dgm:cxn modelId="{86D67B2D-2150-43D6-8B7D-3A2884EBB10A}" type="presOf" srcId="{5F9CE416-D637-4601-A8D9-CDB559635F86}" destId="{6B01AB2C-A753-46EB-B68C-DFED4C49EA33}" srcOrd="0" destOrd="1" presId="urn:microsoft.com/office/officeart/2005/8/layout/hList1"/>
    <dgm:cxn modelId="{B7E21732-6447-4B34-A13C-804732024A22}" type="presOf" srcId="{14FE3DD9-39CB-449F-A157-B5519EAA6813}" destId="{DD7992A8-8ACA-4D2A-9436-5D53C8C5703C}" srcOrd="0" destOrd="5" presId="urn:microsoft.com/office/officeart/2005/8/layout/hList1"/>
    <dgm:cxn modelId="{03121C39-0BD6-45C4-8239-E5AC37EFFDED}" type="presOf" srcId="{112E46B1-220A-4FA3-B0CD-68A76FFCFBF5}" destId="{18897E8A-AF04-4AEF-BDC6-973ECC40234D}" srcOrd="0" destOrd="0" presId="urn:microsoft.com/office/officeart/2005/8/layout/hList1"/>
    <dgm:cxn modelId="{9B5AC741-FA80-4151-B321-3152B6DAF97D}" type="presOf" srcId="{4D4F4495-9C54-4117-BEF5-507CE44372A1}" destId="{DD7992A8-8ACA-4D2A-9436-5D53C8C5703C}" srcOrd="0" destOrd="2" presId="urn:microsoft.com/office/officeart/2005/8/layout/hList1"/>
    <dgm:cxn modelId="{8D90DB68-0899-454B-A0CA-8463827AE685}" srcId="{278F678D-C476-4AF3-841A-929EB5AED855}" destId="{FBDDD1EC-2645-46AE-8DC7-D405BD6F166B}" srcOrd="0" destOrd="0" parTransId="{CB43CEA8-8DC4-4229-80E6-B263C51D0C65}" sibTransId="{AAB04276-062E-4D94-87E0-BF58E4E1C4A1}"/>
    <dgm:cxn modelId="{46243D69-6A76-469B-AE41-049C679E90FB}" type="presOf" srcId="{7CE79EF6-4695-4112-A977-588840D9EEF6}" destId="{5F19CBB4-8CCA-411A-9DBD-938E9C1C1CF8}" srcOrd="0" destOrd="1" presId="urn:microsoft.com/office/officeart/2005/8/layout/hList1"/>
    <dgm:cxn modelId="{098C774B-3C93-44B9-ABDB-CDE2A74970A8}" srcId="{6703539A-C451-4D4F-82E8-F70AE3CBF536}" destId="{021DF272-257E-4F1C-B694-2DC5A6E65C03}" srcOrd="2" destOrd="0" parTransId="{001A0728-6826-46D7-8AB4-15489055B261}" sibTransId="{8C685A8F-47E2-4B01-AF11-FB65FE22B08C}"/>
    <dgm:cxn modelId="{5AAFFE6C-50FB-40BB-A5F3-F1A03E5E5F0E}" srcId="{6703539A-C451-4D4F-82E8-F70AE3CBF536}" destId="{112E46B1-220A-4FA3-B0CD-68A76FFCFBF5}" srcOrd="1" destOrd="0" parTransId="{E9AFA68C-70C0-4487-810F-B749567D4E5A}" sibTransId="{851FD837-989D-4102-A645-025ACF4067C7}"/>
    <dgm:cxn modelId="{500E3371-EA37-4348-90BE-1852CB361348}" srcId="{112E46B1-220A-4FA3-B0CD-68A76FFCFBF5}" destId="{4D4F4495-9C54-4117-BEF5-507CE44372A1}" srcOrd="2" destOrd="0" parTransId="{617370E2-F35E-4623-B19B-4A60D29A8C00}" sibTransId="{43E8C58C-1112-4A0E-A1F0-90E076EFDFED}"/>
    <dgm:cxn modelId="{9E498158-1A56-44B4-BFE7-CAFBBC4A8353}" type="presOf" srcId="{DA31861B-D8B0-419A-87A8-DA8B1360BFF2}" destId="{DD7992A8-8ACA-4D2A-9436-5D53C8C5703C}" srcOrd="0" destOrd="3" presId="urn:microsoft.com/office/officeart/2005/8/layout/hList1"/>
    <dgm:cxn modelId="{809EF58F-D519-4FB7-B9FA-E814BC54FD31}" type="presOf" srcId="{7857722C-0440-452E-B6A5-04C8B5BE1878}" destId="{DD7992A8-8ACA-4D2A-9436-5D53C8C5703C}" srcOrd="0" destOrd="4" presId="urn:microsoft.com/office/officeart/2005/8/layout/hList1"/>
    <dgm:cxn modelId="{0805C693-0E4C-406E-A80E-64CB05E8C0D3}" srcId="{021DF272-257E-4F1C-B694-2DC5A6E65C03}" destId="{B6CBCF18-849F-4DBC-B926-313BEAD75A5F}" srcOrd="0" destOrd="0" parTransId="{0CE3178A-B20D-4401-BF11-00FFB911619D}" sibTransId="{F4B2E687-4185-4FE3-92CC-ABAAD75E05A0}"/>
    <dgm:cxn modelId="{24E5CB9B-64D3-425A-AE49-75E29D29EDDB}" srcId="{112E46B1-220A-4FA3-B0CD-68A76FFCFBF5}" destId="{DA31861B-D8B0-419A-87A8-DA8B1360BFF2}" srcOrd="3" destOrd="0" parTransId="{E87815B1-FF00-45A6-8CA2-006096C92705}" sibTransId="{8E3BBD21-24DC-4B51-8D1E-91F38985E32C}"/>
    <dgm:cxn modelId="{60A083A5-07D9-4C2A-AF33-15E04C4B36B3}" srcId="{278F678D-C476-4AF3-841A-929EB5AED855}" destId="{7CE79EF6-4695-4112-A977-588840D9EEF6}" srcOrd="1" destOrd="0" parTransId="{56C50CB8-68AB-43E1-AC14-DA9A9D44A3BC}" sibTransId="{96550C3E-884D-47BB-85D9-9914931719A1}"/>
    <dgm:cxn modelId="{F07CA8B7-C46E-4C70-BDC4-F613EBC5C99A}" type="presOf" srcId="{6703539A-C451-4D4F-82E8-F70AE3CBF536}" destId="{07481B43-6243-4717-B461-F710361F1A72}" srcOrd="0" destOrd="0" presId="urn:microsoft.com/office/officeart/2005/8/layout/hList1"/>
    <dgm:cxn modelId="{17BC04BA-B751-4C2A-A08B-DCF1A68E439A}" type="presOf" srcId="{97BF999A-7C1D-4AAE-9DF1-DC6E508AD797}" destId="{DD7992A8-8ACA-4D2A-9436-5D53C8C5703C}" srcOrd="0" destOrd="0" presId="urn:microsoft.com/office/officeart/2005/8/layout/hList1"/>
    <dgm:cxn modelId="{609BEECF-79AC-4159-814D-15E71CFAED1A}" type="presOf" srcId="{FBDDD1EC-2645-46AE-8DC7-D405BD6F166B}" destId="{5F19CBB4-8CCA-411A-9DBD-938E9C1C1CF8}" srcOrd="0" destOrd="0" presId="urn:microsoft.com/office/officeart/2005/8/layout/hList1"/>
    <dgm:cxn modelId="{5A4C9FDB-C5C3-4828-AF87-CD31119CF70A}" type="presOf" srcId="{021DF272-257E-4F1C-B694-2DC5A6E65C03}" destId="{79FCC723-F7C2-4D5F-B48C-2828B608E9D8}" srcOrd="0" destOrd="0" presId="urn:microsoft.com/office/officeart/2005/8/layout/hList1"/>
    <dgm:cxn modelId="{D25D60E3-F6FC-450B-A886-BCE17DC0C3FA}" srcId="{112E46B1-220A-4FA3-B0CD-68A76FFCFBF5}" destId="{4E2AB9A1-4D26-49D0-A2D2-521735979170}" srcOrd="1" destOrd="0" parTransId="{353E9B5B-203B-416D-BD1D-2204222A7E7E}" sibTransId="{59881ECB-D974-40A0-A65F-D8666E84E143}"/>
    <dgm:cxn modelId="{E24315E6-022B-40A4-B85D-C687F8304306}" srcId="{112E46B1-220A-4FA3-B0CD-68A76FFCFBF5}" destId="{7857722C-0440-452E-B6A5-04C8B5BE1878}" srcOrd="4" destOrd="0" parTransId="{CDCE4031-1537-4675-8DA4-3EBBAAD76FA2}" sibTransId="{F588C392-23FF-474C-967F-FAE02EF23085}"/>
    <dgm:cxn modelId="{045ABBE6-917D-41EC-A7B1-3E97F016FE15}" type="presOf" srcId="{4E2AB9A1-4D26-49D0-A2D2-521735979170}" destId="{DD7992A8-8ACA-4D2A-9436-5D53C8C5703C}" srcOrd="0" destOrd="1" presId="urn:microsoft.com/office/officeart/2005/8/layout/hList1"/>
    <dgm:cxn modelId="{069A2BF6-26BF-4A79-9211-53A22D8B1570}" srcId="{021DF272-257E-4F1C-B694-2DC5A6E65C03}" destId="{5F9CE416-D637-4601-A8D9-CDB559635F86}" srcOrd="1" destOrd="0" parTransId="{14183204-E0ED-44D6-8CB0-6BE48C0F33D3}" sibTransId="{32F3EDF9-AC76-4FE4-95B2-5B6EFC8D3B87}"/>
    <dgm:cxn modelId="{F6F98EFA-C1CD-451A-8BF1-E11FC7FDBE93}" srcId="{6703539A-C451-4D4F-82E8-F70AE3CBF536}" destId="{278F678D-C476-4AF3-841A-929EB5AED855}" srcOrd="0" destOrd="0" parTransId="{069090C3-FDED-4B18-B00D-D3ABA09A8763}" sibTransId="{AFDB45C1-B4EB-48F5-BF78-E230E700F73E}"/>
    <dgm:cxn modelId="{109CA0FE-E73F-4E0E-BD25-BDDB3F5992B8}" type="presOf" srcId="{278F678D-C476-4AF3-841A-929EB5AED855}" destId="{4B670BEC-6173-4E03-BA35-B9F4930FBEAF}" srcOrd="0" destOrd="0" presId="urn:microsoft.com/office/officeart/2005/8/layout/hList1"/>
    <dgm:cxn modelId="{9286E20F-E191-4EF2-B5A8-C80120291EF4}" type="presParOf" srcId="{07481B43-6243-4717-B461-F710361F1A72}" destId="{D5880FA1-F57C-4BCB-A0FC-981CD1DB4FCC}" srcOrd="0" destOrd="0" presId="urn:microsoft.com/office/officeart/2005/8/layout/hList1"/>
    <dgm:cxn modelId="{41EC27D2-11FB-44AA-82DE-FEB8775FA52C}" type="presParOf" srcId="{D5880FA1-F57C-4BCB-A0FC-981CD1DB4FCC}" destId="{4B670BEC-6173-4E03-BA35-B9F4930FBEAF}" srcOrd="0" destOrd="0" presId="urn:microsoft.com/office/officeart/2005/8/layout/hList1"/>
    <dgm:cxn modelId="{FD57BEF1-BEA4-426E-AF48-1D2314811BA9}" type="presParOf" srcId="{D5880FA1-F57C-4BCB-A0FC-981CD1DB4FCC}" destId="{5F19CBB4-8CCA-411A-9DBD-938E9C1C1CF8}" srcOrd="1" destOrd="0" presId="urn:microsoft.com/office/officeart/2005/8/layout/hList1"/>
    <dgm:cxn modelId="{61676B65-5209-425B-843A-362A65AD5D94}" type="presParOf" srcId="{07481B43-6243-4717-B461-F710361F1A72}" destId="{B992DBA0-ADC6-4D76-A0C5-6A4CA116AA47}" srcOrd="1" destOrd="0" presId="urn:microsoft.com/office/officeart/2005/8/layout/hList1"/>
    <dgm:cxn modelId="{4EE29AFF-757D-4E68-B07E-56EDDC36A664}" type="presParOf" srcId="{07481B43-6243-4717-B461-F710361F1A72}" destId="{172486B9-528D-4B41-B8A3-BDA0075ED2EF}" srcOrd="2" destOrd="0" presId="urn:microsoft.com/office/officeart/2005/8/layout/hList1"/>
    <dgm:cxn modelId="{5D9A3CD8-4711-43B0-A87D-C40DDF65376F}" type="presParOf" srcId="{172486B9-528D-4B41-B8A3-BDA0075ED2EF}" destId="{18897E8A-AF04-4AEF-BDC6-973ECC40234D}" srcOrd="0" destOrd="0" presId="urn:microsoft.com/office/officeart/2005/8/layout/hList1"/>
    <dgm:cxn modelId="{73D343A7-FBBC-4BBF-88EB-2B75F5E0E6E5}" type="presParOf" srcId="{172486B9-528D-4B41-B8A3-BDA0075ED2EF}" destId="{DD7992A8-8ACA-4D2A-9436-5D53C8C5703C}" srcOrd="1" destOrd="0" presId="urn:microsoft.com/office/officeart/2005/8/layout/hList1"/>
    <dgm:cxn modelId="{D8682DC5-C79B-4A5F-914C-9CBF79F6AD3B}" type="presParOf" srcId="{07481B43-6243-4717-B461-F710361F1A72}" destId="{96809ECE-5985-4EAC-8291-32010E84165E}" srcOrd="3" destOrd="0" presId="urn:microsoft.com/office/officeart/2005/8/layout/hList1"/>
    <dgm:cxn modelId="{CA43759F-D76B-49F4-8ACC-12E5C8E093BF}" type="presParOf" srcId="{07481B43-6243-4717-B461-F710361F1A72}" destId="{F10B1E92-B957-4E30-A64C-A7CB99C1B351}" srcOrd="4" destOrd="0" presId="urn:microsoft.com/office/officeart/2005/8/layout/hList1"/>
    <dgm:cxn modelId="{AAAC0DAB-560D-415E-8C9B-B194D14451A6}" type="presParOf" srcId="{F10B1E92-B957-4E30-A64C-A7CB99C1B351}" destId="{79FCC723-F7C2-4D5F-B48C-2828B608E9D8}" srcOrd="0" destOrd="0" presId="urn:microsoft.com/office/officeart/2005/8/layout/hList1"/>
    <dgm:cxn modelId="{72183E46-62BB-4F7F-84E5-21E62E99537D}" type="presParOf" srcId="{F10B1E92-B957-4E30-A64C-A7CB99C1B351}" destId="{6B01AB2C-A753-46EB-B68C-DFED4C49EA3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85BBA68-C85C-484C-A67D-E41CA1F0D187}" type="doc">
      <dgm:prSet loTypeId="urn:microsoft.com/office/officeart/2005/8/layout/vList5" loCatId="list" qsTypeId="urn:microsoft.com/office/officeart/2005/8/quickstyle/simple4" qsCatId="simple" csTypeId="urn:microsoft.com/office/officeart/2005/8/colors/accent2_2" csCatId="accent2"/>
      <dgm:spPr/>
      <dgm:t>
        <a:bodyPr/>
        <a:lstStyle/>
        <a:p>
          <a:endParaRPr lang="en-US"/>
        </a:p>
      </dgm:t>
    </dgm:pt>
    <dgm:pt modelId="{820DBF23-6585-4192-A258-F31C3627A52A}">
      <dgm:prSet/>
      <dgm:spPr/>
      <dgm:t>
        <a:bodyPr/>
        <a:lstStyle/>
        <a:p>
          <a:r>
            <a:rPr lang="en-US" baseline="0"/>
            <a:t>Prerequisites</a:t>
          </a:r>
          <a:endParaRPr lang="en-US"/>
        </a:p>
      </dgm:t>
    </dgm:pt>
    <dgm:pt modelId="{4178A24A-4609-468F-B0E7-98897A2D611E}" type="parTrans" cxnId="{6501FB35-F47C-423F-A4D5-FB6C1D3BDE57}">
      <dgm:prSet/>
      <dgm:spPr/>
      <dgm:t>
        <a:bodyPr/>
        <a:lstStyle/>
        <a:p>
          <a:endParaRPr lang="en-US"/>
        </a:p>
      </dgm:t>
    </dgm:pt>
    <dgm:pt modelId="{EE8AC136-CB59-4B3F-AC9D-A608D0F8363A}" type="sibTrans" cxnId="{6501FB35-F47C-423F-A4D5-FB6C1D3BDE57}">
      <dgm:prSet/>
      <dgm:spPr/>
      <dgm:t>
        <a:bodyPr/>
        <a:lstStyle/>
        <a:p>
          <a:endParaRPr lang="en-US"/>
        </a:p>
      </dgm:t>
    </dgm:pt>
    <dgm:pt modelId="{C988D6E2-93CE-42FD-AE18-0BDC18279A3C}">
      <dgm:prSet/>
      <dgm:spPr/>
      <dgm:t>
        <a:bodyPr/>
        <a:lstStyle/>
        <a:p>
          <a:r>
            <a:rPr lang="en-US" baseline="0"/>
            <a:t>Install Azure PowerShell module</a:t>
          </a:r>
          <a:endParaRPr lang="en-US"/>
        </a:p>
      </dgm:t>
    </dgm:pt>
    <dgm:pt modelId="{4586A525-27A6-444B-AFD5-1E9622BAC06B}" type="parTrans" cxnId="{EC61EE26-CD98-4B37-9382-7C1AF9C15820}">
      <dgm:prSet/>
      <dgm:spPr/>
      <dgm:t>
        <a:bodyPr/>
        <a:lstStyle/>
        <a:p>
          <a:endParaRPr lang="en-US"/>
        </a:p>
      </dgm:t>
    </dgm:pt>
    <dgm:pt modelId="{C0DD1483-7A79-49B4-8172-0C933BE76DC8}" type="sibTrans" cxnId="{EC61EE26-CD98-4B37-9382-7C1AF9C15820}">
      <dgm:prSet/>
      <dgm:spPr/>
      <dgm:t>
        <a:bodyPr/>
        <a:lstStyle/>
        <a:p>
          <a:endParaRPr lang="en-US"/>
        </a:p>
      </dgm:t>
    </dgm:pt>
    <dgm:pt modelId="{87EFD8CE-359E-4A5C-B29F-C576E45E7CFD}">
      <dgm:prSet/>
      <dgm:spPr/>
      <dgm:t>
        <a:bodyPr/>
        <a:lstStyle/>
        <a:p>
          <a:r>
            <a:rPr lang="en-US" baseline="0"/>
            <a:t>https://learn.microsoft.com/en-us/powershell/azure/get-started-azureps</a:t>
          </a:r>
          <a:endParaRPr lang="en-US"/>
        </a:p>
      </dgm:t>
    </dgm:pt>
    <dgm:pt modelId="{87A25EA9-4D7E-4B5E-B32B-AE6CA57641B2}" type="parTrans" cxnId="{F43F3B9D-3019-49A8-9A15-9054ABBF268E}">
      <dgm:prSet/>
      <dgm:spPr/>
      <dgm:t>
        <a:bodyPr/>
        <a:lstStyle/>
        <a:p>
          <a:endParaRPr lang="en-US"/>
        </a:p>
      </dgm:t>
    </dgm:pt>
    <dgm:pt modelId="{E5CCF207-C820-4D91-A711-791448BCDD6E}" type="sibTrans" cxnId="{F43F3B9D-3019-49A8-9A15-9054ABBF268E}">
      <dgm:prSet/>
      <dgm:spPr/>
      <dgm:t>
        <a:bodyPr/>
        <a:lstStyle/>
        <a:p>
          <a:endParaRPr lang="en-US"/>
        </a:p>
      </dgm:t>
    </dgm:pt>
    <dgm:pt modelId="{07F598E7-411D-455F-A6EA-C08FE9A0BD1A}">
      <dgm:prSet/>
      <dgm:spPr/>
      <dgm:t>
        <a:bodyPr/>
        <a:lstStyle/>
        <a:p>
          <a:r>
            <a:rPr lang="en-US" baseline="0"/>
            <a:t>Connect to Azure with Connect-AZAccount command</a:t>
          </a:r>
          <a:endParaRPr lang="en-US"/>
        </a:p>
      </dgm:t>
    </dgm:pt>
    <dgm:pt modelId="{9B881E3E-8BF3-4C64-967A-C3B8638572E1}" type="parTrans" cxnId="{0D1A12D0-4F4B-40D0-8931-95866FA99A23}">
      <dgm:prSet/>
      <dgm:spPr/>
      <dgm:t>
        <a:bodyPr/>
        <a:lstStyle/>
        <a:p>
          <a:endParaRPr lang="en-US"/>
        </a:p>
      </dgm:t>
    </dgm:pt>
    <dgm:pt modelId="{D09927B4-BA45-4ABA-9C5D-AE3D2268E565}" type="sibTrans" cxnId="{0D1A12D0-4F4B-40D0-8931-95866FA99A23}">
      <dgm:prSet/>
      <dgm:spPr/>
      <dgm:t>
        <a:bodyPr/>
        <a:lstStyle/>
        <a:p>
          <a:endParaRPr lang="en-US"/>
        </a:p>
      </dgm:t>
    </dgm:pt>
    <dgm:pt modelId="{799329C6-384B-4B0C-9CBF-AC8176BCD3B1}">
      <dgm:prSet/>
      <dgm:spPr/>
      <dgm:t>
        <a:bodyPr/>
        <a:lstStyle/>
        <a:p>
          <a:r>
            <a:rPr lang="en-US" baseline="0"/>
            <a:t>Usage Information + Support</a:t>
          </a:r>
          <a:endParaRPr lang="en-US"/>
        </a:p>
      </dgm:t>
    </dgm:pt>
    <dgm:pt modelId="{A3DE5D9A-F15B-402B-99B5-5E090E105758}" type="parTrans" cxnId="{4F172443-AE44-42CE-9283-5E2D3EE474EF}">
      <dgm:prSet/>
      <dgm:spPr/>
      <dgm:t>
        <a:bodyPr/>
        <a:lstStyle/>
        <a:p>
          <a:endParaRPr lang="en-US"/>
        </a:p>
      </dgm:t>
    </dgm:pt>
    <dgm:pt modelId="{790A489B-DB2C-48D5-8C80-82EF44AC49D9}" type="sibTrans" cxnId="{4F172443-AE44-42CE-9283-5E2D3EE474EF}">
      <dgm:prSet/>
      <dgm:spPr/>
      <dgm:t>
        <a:bodyPr/>
        <a:lstStyle/>
        <a:p>
          <a:endParaRPr lang="en-US"/>
        </a:p>
      </dgm:t>
    </dgm:pt>
    <dgm:pt modelId="{0D4461FB-5C71-4040-85D7-B9E801A1B261}">
      <dgm:prSet/>
      <dgm:spPr/>
      <dgm:t>
        <a:bodyPr/>
        <a:lstStyle/>
        <a:p>
          <a:r>
            <a:rPr lang="en-US" baseline="0"/>
            <a:t>Information needed for PowerShell</a:t>
          </a:r>
          <a:endParaRPr lang="en-US"/>
        </a:p>
      </dgm:t>
    </dgm:pt>
    <dgm:pt modelId="{8F9EA60D-A682-4383-A75E-82F030E9156E}" type="parTrans" cxnId="{4E1FFA84-8F2A-4EF2-82CA-40199BADE105}">
      <dgm:prSet/>
      <dgm:spPr/>
      <dgm:t>
        <a:bodyPr/>
        <a:lstStyle/>
        <a:p>
          <a:endParaRPr lang="en-US"/>
        </a:p>
      </dgm:t>
    </dgm:pt>
    <dgm:pt modelId="{F3A184D7-6298-48D9-A051-8A75058F6D57}" type="sibTrans" cxnId="{4E1FFA84-8F2A-4EF2-82CA-40199BADE105}">
      <dgm:prSet/>
      <dgm:spPr/>
      <dgm:t>
        <a:bodyPr/>
        <a:lstStyle/>
        <a:p>
          <a:endParaRPr lang="en-US"/>
        </a:p>
      </dgm:t>
    </dgm:pt>
    <dgm:pt modelId="{F95B2220-361A-4EDD-A591-A0E2F562E813}">
      <dgm:prSet/>
      <dgm:spPr/>
      <dgm:t>
        <a:bodyPr/>
        <a:lstStyle/>
        <a:p>
          <a:r>
            <a:rPr lang="en-US" baseline="0"/>
            <a:t>Publisher ID</a:t>
          </a:r>
          <a:endParaRPr lang="en-US"/>
        </a:p>
      </dgm:t>
    </dgm:pt>
    <dgm:pt modelId="{9687775D-B6B8-4A47-A3C0-00826C0B8C77}" type="parTrans" cxnId="{368D612A-57BF-4A8B-8989-3ECD510FC5DF}">
      <dgm:prSet/>
      <dgm:spPr/>
      <dgm:t>
        <a:bodyPr/>
        <a:lstStyle/>
        <a:p>
          <a:endParaRPr lang="en-US"/>
        </a:p>
      </dgm:t>
    </dgm:pt>
    <dgm:pt modelId="{F3B69C9D-4D20-4382-BF82-DF3A09EE875D}" type="sibTrans" cxnId="{368D612A-57BF-4A8B-8989-3ECD510FC5DF}">
      <dgm:prSet/>
      <dgm:spPr/>
      <dgm:t>
        <a:bodyPr/>
        <a:lstStyle/>
        <a:p>
          <a:endParaRPr lang="en-US"/>
        </a:p>
      </dgm:t>
    </dgm:pt>
    <dgm:pt modelId="{EFDFBB16-9C9A-4E15-9FD8-3690BDBD035A}">
      <dgm:prSet/>
      <dgm:spPr/>
      <dgm:t>
        <a:bodyPr/>
        <a:lstStyle/>
        <a:p>
          <a:r>
            <a:rPr lang="en-US" baseline="0"/>
            <a:t>Product ID</a:t>
          </a:r>
          <a:endParaRPr lang="en-US"/>
        </a:p>
      </dgm:t>
    </dgm:pt>
    <dgm:pt modelId="{32C90026-DB65-42E3-A250-ED8152AFE79A}" type="parTrans" cxnId="{0A09E158-5433-44A7-A275-FD412D4CA279}">
      <dgm:prSet/>
      <dgm:spPr/>
      <dgm:t>
        <a:bodyPr/>
        <a:lstStyle/>
        <a:p>
          <a:endParaRPr lang="en-US"/>
        </a:p>
      </dgm:t>
    </dgm:pt>
    <dgm:pt modelId="{66341EA7-DB13-4F4E-BC51-2FB775071A86}" type="sibTrans" cxnId="{0A09E158-5433-44A7-A275-FD412D4CA279}">
      <dgm:prSet/>
      <dgm:spPr/>
      <dgm:t>
        <a:bodyPr/>
        <a:lstStyle/>
        <a:p>
          <a:endParaRPr lang="en-US"/>
        </a:p>
      </dgm:t>
    </dgm:pt>
    <dgm:pt modelId="{BE1C08F1-5929-407E-8C82-9C9FF30B1C7A}">
      <dgm:prSet/>
      <dgm:spPr/>
      <dgm:t>
        <a:bodyPr/>
        <a:lstStyle/>
        <a:p>
          <a:r>
            <a:rPr lang="en-US" baseline="0"/>
            <a:t>Plan ID</a:t>
          </a:r>
          <a:endParaRPr lang="en-US"/>
        </a:p>
      </dgm:t>
    </dgm:pt>
    <dgm:pt modelId="{49A66853-7403-4BF9-9488-984DF291BC43}" type="parTrans" cxnId="{9F1A1458-54FB-4A7F-A7AC-28877DB3AB81}">
      <dgm:prSet/>
      <dgm:spPr/>
      <dgm:t>
        <a:bodyPr/>
        <a:lstStyle/>
        <a:p>
          <a:endParaRPr lang="en-US"/>
        </a:p>
      </dgm:t>
    </dgm:pt>
    <dgm:pt modelId="{B2740F16-AF25-4F5C-97A8-9BC124F5F544}" type="sibTrans" cxnId="{9F1A1458-54FB-4A7F-A7AC-28877DB3AB81}">
      <dgm:prSet/>
      <dgm:spPr/>
      <dgm:t>
        <a:bodyPr/>
        <a:lstStyle/>
        <a:p>
          <a:endParaRPr lang="en-US"/>
        </a:p>
      </dgm:t>
    </dgm:pt>
    <dgm:pt modelId="{5233AD5A-7BFD-4D80-AE35-59902AC33E97}">
      <dgm:prSet/>
      <dgm:spPr/>
      <dgm:t>
        <a:bodyPr/>
        <a:lstStyle/>
        <a:p>
          <a:r>
            <a:rPr lang="en-US" baseline="0"/>
            <a:t>Other deployment options</a:t>
          </a:r>
          <a:endParaRPr lang="en-US"/>
        </a:p>
      </dgm:t>
    </dgm:pt>
    <dgm:pt modelId="{84365C8D-8270-47F1-AAF6-6249F8453164}" type="parTrans" cxnId="{13459787-5C51-4616-8A38-BBB125E833FF}">
      <dgm:prSet/>
      <dgm:spPr/>
      <dgm:t>
        <a:bodyPr/>
        <a:lstStyle/>
        <a:p>
          <a:endParaRPr lang="en-US"/>
        </a:p>
      </dgm:t>
    </dgm:pt>
    <dgm:pt modelId="{CABDE4B5-8EDA-4561-91BA-689FA361EEEB}" type="sibTrans" cxnId="{13459787-5C51-4616-8A38-BBB125E833FF}">
      <dgm:prSet/>
      <dgm:spPr/>
      <dgm:t>
        <a:bodyPr/>
        <a:lstStyle/>
        <a:p>
          <a:endParaRPr lang="en-US"/>
        </a:p>
      </dgm:t>
    </dgm:pt>
    <dgm:pt modelId="{138F89E5-2F55-4BBB-B737-507B5C9CBC34}">
      <dgm:prSet/>
      <dgm:spPr/>
      <dgm:t>
        <a:bodyPr/>
        <a:lstStyle/>
        <a:p>
          <a:r>
            <a:rPr lang="en-US" baseline="0"/>
            <a:t>Azure CLI</a:t>
          </a:r>
          <a:endParaRPr lang="en-US"/>
        </a:p>
      </dgm:t>
    </dgm:pt>
    <dgm:pt modelId="{7105EB6C-CBF5-46CE-A021-F8C2BAB77E5D}" type="parTrans" cxnId="{8D6A4C62-C05C-430C-8586-F04E6C545595}">
      <dgm:prSet/>
      <dgm:spPr/>
      <dgm:t>
        <a:bodyPr/>
        <a:lstStyle/>
        <a:p>
          <a:endParaRPr lang="en-US"/>
        </a:p>
      </dgm:t>
    </dgm:pt>
    <dgm:pt modelId="{260A98A3-8482-46C4-8982-19A8263252F3}" type="sibTrans" cxnId="{8D6A4C62-C05C-430C-8586-F04E6C545595}">
      <dgm:prSet/>
      <dgm:spPr/>
      <dgm:t>
        <a:bodyPr/>
        <a:lstStyle/>
        <a:p>
          <a:endParaRPr lang="en-US"/>
        </a:p>
      </dgm:t>
    </dgm:pt>
    <dgm:pt modelId="{848DCE86-F69D-44F6-BBE5-5636095FA717}">
      <dgm:prSet/>
      <dgm:spPr/>
      <dgm:t>
        <a:bodyPr/>
        <a:lstStyle/>
        <a:p>
          <a:r>
            <a:rPr lang="en-US" baseline="0"/>
            <a:t>Terraform</a:t>
          </a:r>
          <a:endParaRPr lang="en-US"/>
        </a:p>
      </dgm:t>
    </dgm:pt>
    <dgm:pt modelId="{88BCEF91-DA78-4E07-A527-9BC04EBABB0D}" type="parTrans" cxnId="{C22D5A39-3488-4ED8-9DFF-F6E532E16577}">
      <dgm:prSet/>
      <dgm:spPr/>
      <dgm:t>
        <a:bodyPr/>
        <a:lstStyle/>
        <a:p>
          <a:endParaRPr lang="en-US"/>
        </a:p>
      </dgm:t>
    </dgm:pt>
    <dgm:pt modelId="{ED6AD32B-39EE-422A-8764-7B5D45F45F3A}" type="sibTrans" cxnId="{C22D5A39-3488-4ED8-9DFF-F6E532E16577}">
      <dgm:prSet/>
      <dgm:spPr/>
      <dgm:t>
        <a:bodyPr/>
        <a:lstStyle/>
        <a:p>
          <a:endParaRPr lang="en-US"/>
        </a:p>
      </dgm:t>
    </dgm:pt>
    <dgm:pt modelId="{BEDD38B9-0777-47DB-8133-CE51CCC18AFC}" type="pres">
      <dgm:prSet presAssocID="{C85BBA68-C85C-484C-A67D-E41CA1F0D187}" presName="Name0" presStyleCnt="0">
        <dgm:presLayoutVars>
          <dgm:dir/>
          <dgm:animLvl val="lvl"/>
          <dgm:resizeHandles val="exact"/>
        </dgm:presLayoutVars>
      </dgm:prSet>
      <dgm:spPr/>
    </dgm:pt>
    <dgm:pt modelId="{1B8894A4-F345-439B-8B3C-9013B4A49026}" type="pres">
      <dgm:prSet presAssocID="{820DBF23-6585-4192-A258-F31C3627A52A}" presName="linNode" presStyleCnt="0"/>
      <dgm:spPr/>
    </dgm:pt>
    <dgm:pt modelId="{D3251CB0-99FB-4CE3-96C5-18A8B5F7B0C3}" type="pres">
      <dgm:prSet presAssocID="{820DBF23-6585-4192-A258-F31C3627A52A}" presName="parentText" presStyleLbl="node1" presStyleIdx="0" presStyleCnt="3">
        <dgm:presLayoutVars>
          <dgm:chMax val="1"/>
          <dgm:bulletEnabled val="1"/>
        </dgm:presLayoutVars>
      </dgm:prSet>
      <dgm:spPr/>
    </dgm:pt>
    <dgm:pt modelId="{AEFADD3C-A1B5-4D68-853B-212CDA71A881}" type="pres">
      <dgm:prSet presAssocID="{820DBF23-6585-4192-A258-F31C3627A52A}" presName="descendantText" presStyleLbl="alignAccFollowNode1" presStyleIdx="0" presStyleCnt="3">
        <dgm:presLayoutVars>
          <dgm:bulletEnabled val="1"/>
        </dgm:presLayoutVars>
      </dgm:prSet>
      <dgm:spPr/>
    </dgm:pt>
    <dgm:pt modelId="{30AD45FD-025B-455F-BAE9-15940BB30895}" type="pres">
      <dgm:prSet presAssocID="{EE8AC136-CB59-4B3F-AC9D-A608D0F8363A}" presName="sp" presStyleCnt="0"/>
      <dgm:spPr/>
    </dgm:pt>
    <dgm:pt modelId="{C0C22F04-3ADD-4735-A4FB-E9F3EA6151B7}" type="pres">
      <dgm:prSet presAssocID="{799329C6-384B-4B0C-9CBF-AC8176BCD3B1}" presName="linNode" presStyleCnt="0"/>
      <dgm:spPr/>
    </dgm:pt>
    <dgm:pt modelId="{7735BBAA-B145-429A-A7C6-EF0BB3482726}" type="pres">
      <dgm:prSet presAssocID="{799329C6-384B-4B0C-9CBF-AC8176BCD3B1}" presName="parentText" presStyleLbl="node1" presStyleIdx="1" presStyleCnt="3">
        <dgm:presLayoutVars>
          <dgm:chMax val="1"/>
          <dgm:bulletEnabled val="1"/>
        </dgm:presLayoutVars>
      </dgm:prSet>
      <dgm:spPr/>
    </dgm:pt>
    <dgm:pt modelId="{553427E3-ABC7-4853-B128-320BFEBCD9AE}" type="pres">
      <dgm:prSet presAssocID="{799329C6-384B-4B0C-9CBF-AC8176BCD3B1}" presName="descendantText" presStyleLbl="alignAccFollowNode1" presStyleIdx="1" presStyleCnt="3">
        <dgm:presLayoutVars>
          <dgm:bulletEnabled val="1"/>
        </dgm:presLayoutVars>
      </dgm:prSet>
      <dgm:spPr/>
    </dgm:pt>
    <dgm:pt modelId="{30E19A31-FC0C-49D7-8784-E3CF4640143A}" type="pres">
      <dgm:prSet presAssocID="{790A489B-DB2C-48D5-8C80-82EF44AC49D9}" presName="sp" presStyleCnt="0"/>
      <dgm:spPr/>
    </dgm:pt>
    <dgm:pt modelId="{ADC44853-3B36-49AF-9386-012AF94EF20E}" type="pres">
      <dgm:prSet presAssocID="{5233AD5A-7BFD-4D80-AE35-59902AC33E97}" presName="linNode" presStyleCnt="0"/>
      <dgm:spPr/>
    </dgm:pt>
    <dgm:pt modelId="{5F964A1F-D92B-42DE-922B-D9697E21A213}" type="pres">
      <dgm:prSet presAssocID="{5233AD5A-7BFD-4D80-AE35-59902AC33E97}" presName="parentText" presStyleLbl="node1" presStyleIdx="2" presStyleCnt="3">
        <dgm:presLayoutVars>
          <dgm:chMax val="1"/>
          <dgm:bulletEnabled val="1"/>
        </dgm:presLayoutVars>
      </dgm:prSet>
      <dgm:spPr/>
    </dgm:pt>
    <dgm:pt modelId="{2B888B18-5AE3-4B08-90F4-FBA6BC237890}" type="pres">
      <dgm:prSet presAssocID="{5233AD5A-7BFD-4D80-AE35-59902AC33E97}" presName="descendantText" presStyleLbl="alignAccFollowNode1" presStyleIdx="2" presStyleCnt="3">
        <dgm:presLayoutVars>
          <dgm:bulletEnabled val="1"/>
        </dgm:presLayoutVars>
      </dgm:prSet>
      <dgm:spPr/>
    </dgm:pt>
  </dgm:ptLst>
  <dgm:cxnLst>
    <dgm:cxn modelId="{C113660A-EDF8-4C61-A361-76D1FAF60302}" type="presOf" srcId="{799329C6-384B-4B0C-9CBF-AC8176BCD3B1}" destId="{7735BBAA-B145-429A-A7C6-EF0BB3482726}" srcOrd="0" destOrd="0" presId="urn:microsoft.com/office/officeart/2005/8/layout/vList5"/>
    <dgm:cxn modelId="{EC61EE26-CD98-4B37-9382-7C1AF9C15820}" srcId="{820DBF23-6585-4192-A258-F31C3627A52A}" destId="{C988D6E2-93CE-42FD-AE18-0BDC18279A3C}" srcOrd="0" destOrd="0" parTransId="{4586A525-27A6-444B-AFD5-1E9622BAC06B}" sibTransId="{C0DD1483-7A79-49B4-8172-0C933BE76DC8}"/>
    <dgm:cxn modelId="{368D612A-57BF-4A8B-8989-3ECD510FC5DF}" srcId="{0D4461FB-5C71-4040-85D7-B9E801A1B261}" destId="{F95B2220-361A-4EDD-A591-A0E2F562E813}" srcOrd="0" destOrd="0" parTransId="{9687775D-B6B8-4A47-A3C0-00826C0B8C77}" sibTransId="{F3B69C9D-4D20-4382-BF82-DF3A09EE875D}"/>
    <dgm:cxn modelId="{6501FB35-F47C-423F-A4D5-FB6C1D3BDE57}" srcId="{C85BBA68-C85C-484C-A67D-E41CA1F0D187}" destId="{820DBF23-6585-4192-A258-F31C3627A52A}" srcOrd="0" destOrd="0" parTransId="{4178A24A-4609-468F-B0E7-98897A2D611E}" sibTransId="{EE8AC136-CB59-4B3F-AC9D-A608D0F8363A}"/>
    <dgm:cxn modelId="{C22D5A39-3488-4ED8-9DFF-F6E532E16577}" srcId="{5233AD5A-7BFD-4D80-AE35-59902AC33E97}" destId="{848DCE86-F69D-44F6-BBE5-5636095FA717}" srcOrd="1" destOrd="0" parTransId="{88BCEF91-DA78-4E07-A527-9BC04EBABB0D}" sibTransId="{ED6AD32B-39EE-422A-8764-7B5D45F45F3A}"/>
    <dgm:cxn modelId="{8D6A4C62-C05C-430C-8586-F04E6C545595}" srcId="{5233AD5A-7BFD-4D80-AE35-59902AC33E97}" destId="{138F89E5-2F55-4BBB-B737-507B5C9CBC34}" srcOrd="0" destOrd="0" parTransId="{7105EB6C-CBF5-46CE-A021-F8C2BAB77E5D}" sibTransId="{260A98A3-8482-46C4-8982-19A8263252F3}"/>
    <dgm:cxn modelId="{4F172443-AE44-42CE-9283-5E2D3EE474EF}" srcId="{C85BBA68-C85C-484C-A67D-E41CA1F0D187}" destId="{799329C6-384B-4B0C-9CBF-AC8176BCD3B1}" srcOrd="1" destOrd="0" parTransId="{A3DE5D9A-F15B-402B-99B5-5E090E105758}" sibTransId="{790A489B-DB2C-48D5-8C80-82EF44AC49D9}"/>
    <dgm:cxn modelId="{F2ED4448-4D71-4ACD-B904-CE662F8FFEA5}" type="presOf" srcId="{C85BBA68-C85C-484C-A67D-E41CA1F0D187}" destId="{BEDD38B9-0777-47DB-8133-CE51CCC18AFC}" srcOrd="0" destOrd="0" presId="urn:microsoft.com/office/officeart/2005/8/layout/vList5"/>
    <dgm:cxn modelId="{A92A2A52-98B7-4E73-93BE-568E474AAB73}" type="presOf" srcId="{F95B2220-361A-4EDD-A591-A0E2F562E813}" destId="{553427E3-ABC7-4853-B128-320BFEBCD9AE}" srcOrd="0" destOrd="1" presId="urn:microsoft.com/office/officeart/2005/8/layout/vList5"/>
    <dgm:cxn modelId="{9F1A1458-54FB-4A7F-A7AC-28877DB3AB81}" srcId="{0D4461FB-5C71-4040-85D7-B9E801A1B261}" destId="{BE1C08F1-5929-407E-8C82-9C9FF30B1C7A}" srcOrd="2" destOrd="0" parTransId="{49A66853-7403-4BF9-9488-984DF291BC43}" sibTransId="{B2740F16-AF25-4F5C-97A8-9BC124F5F544}"/>
    <dgm:cxn modelId="{0A09E158-5433-44A7-A275-FD412D4CA279}" srcId="{0D4461FB-5C71-4040-85D7-B9E801A1B261}" destId="{EFDFBB16-9C9A-4E15-9FD8-3690BDBD035A}" srcOrd="1" destOrd="0" parTransId="{32C90026-DB65-42E3-A250-ED8152AFE79A}" sibTransId="{66341EA7-DB13-4F4E-BC51-2FB775071A86}"/>
    <dgm:cxn modelId="{4E1FFA84-8F2A-4EF2-82CA-40199BADE105}" srcId="{799329C6-384B-4B0C-9CBF-AC8176BCD3B1}" destId="{0D4461FB-5C71-4040-85D7-B9E801A1B261}" srcOrd="0" destOrd="0" parTransId="{8F9EA60D-A682-4383-A75E-82F030E9156E}" sibTransId="{F3A184D7-6298-48D9-A051-8A75058F6D57}"/>
    <dgm:cxn modelId="{13459787-5C51-4616-8A38-BBB125E833FF}" srcId="{C85BBA68-C85C-484C-A67D-E41CA1F0D187}" destId="{5233AD5A-7BFD-4D80-AE35-59902AC33E97}" srcOrd="2" destOrd="0" parTransId="{84365C8D-8270-47F1-AAF6-6249F8453164}" sibTransId="{CABDE4B5-8EDA-4561-91BA-689FA361EEEB}"/>
    <dgm:cxn modelId="{23A7508C-EF26-4447-B5C6-920E49481E8F}" type="presOf" srcId="{5233AD5A-7BFD-4D80-AE35-59902AC33E97}" destId="{5F964A1F-D92B-42DE-922B-D9697E21A213}" srcOrd="0" destOrd="0" presId="urn:microsoft.com/office/officeart/2005/8/layout/vList5"/>
    <dgm:cxn modelId="{57D5E98F-8145-47BE-904D-21694CC32FD7}" type="presOf" srcId="{138F89E5-2F55-4BBB-B737-507B5C9CBC34}" destId="{2B888B18-5AE3-4B08-90F4-FBA6BC237890}" srcOrd="0" destOrd="0" presId="urn:microsoft.com/office/officeart/2005/8/layout/vList5"/>
    <dgm:cxn modelId="{2375DE97-FEAB-449B-ADE2-088F2AD40FF2}" type="presOf" srcId="{820DBF23-6585-4192-A258-F31C3627A52A}" destId="{D3251CB0-99FB-4CE3-96C5-18A8B5F7B0C3}" srcOrd="0" destOrd="0" presId="urn:microsoft.com/office/officeart/2005/8/layout/vList5"/>
    <dgm:cxn modelId="{F43F3B9D-3019-49A8-9A15-9054ABBF268E}" srcId="{C988D6E2-93CE-42FD-AE18-0BDC18279A3C}" destId="{87EFD8CE-359E-4A5C-B29F-C576E45E7CFD}" srcOrd="0" destOrd="0" parTransId="{87A25EA9-4D7E-4B5E-B32B-AE6CA57641B2}" sibTransId="{E5CCF207-C820-4D91-A711-791448BCDD6E}"/>
    <dgm:cxn modelId="{16FE42A5-7279-46AC-8634-34942BCF059F}" type="presOf" srcId="{C988D6E2-93CE-42FD-AE18-0BDC18279A3C}" destId="{AEFADD3C-A1B5-4D68-853B-212CDA71A881}" srcOrd="0" destOrd="0" presId="urn:microsoft.com/office/officeart/2005/8/layout/vList5"/>
    <dgm:cxn modelId="{689EC1B0-FBAB-403D-A718-892EBAB14BB9}" type="presOf" srcId="{07F598E7-411D-455F-A6EA-C08FE9A0BD1A}" destId="{AEFADD3C-A1B5-4D68-853B-212CDA71A881}" srcOrd="0" destOrd="2" presId="urn:microsoft.com/office/officeart/2005/8/layout/vList5"/>
    <dgm:cxn modelId="{C63291B4-EC8E-4B23-A756-FA3C5E4AA1BC}" type="presOf" srcId="{BE1C08F1-5929-407E-8C82-9C9FF30B1C7A}" destId="{553427E3-ABC7-4853-B128-320BFEBCD9AE}" srcOrd="0" destOrd="3" presId="urn:microsoft.com/office/officeart/2005/8/layout/vList5"/>
    <dgm:cxn modelId="{0307C6C2-1139-47C4-8F37-8AEC8BF649D2}" type="presOf" srcId="{0D4461FB-5C71-4040-85D7-B9E801A1B261}" destId="{553427E3-ABC7-4853-B128-320BFEBCD9AE}" srcOrd="0" destOrd="0" presId="urn:microsoft.com/office/officeart/2005/8/layout/vList5"/>
    <dgm:cxn modelId="{41B6FCC2-6BF0-4BF6-B957-2E8BB1A0C41F}" type="presOf" srcId="{87EFD8CE-359E-4A5C-B29F-C576E45E7CFD}" destId="{AEFADD3C-A1B5-4D68-853B-212CDA71A881}" srcOrd="0" destOrd="1" presId="urn:microsoft.com/office/officeart/2005/8/layout/vList5"/>
    <dgm:cxn modelId="{0D1A12D0-4F4B-40D0-8931-95866FA99A23}" srcId="{820DBF23-6585-4192-A258-F31C3627A52A}" destId="{07F598E7-411D-455F-A6EA-C08FE9A0BD1A}" srcOrd="1" destOrd="0" parTransId="{9B881E3E-8BF3-4C64-967A-C3B8638572E1}" sibTransId="{D09927B4-BA45-4ABA-9C5D-AE3D2268E565}"/>
    <dgm:cxn modelId="{432A2DEC-C6C8-4FEE-99F2-00DECA45F386}" type="presOf" srcId="{EFDFBB16-9C9A-4E15-9FD8-3690BDBD035A}" destId="{553427E3-ABC7-4853-B128-320BFEBCD9AE}" srcOrd="0" destOrd="2" presId="urn:microsoft.com/office/officeart/2005/8/layout/vList5"/>
    <dgm:cxn modelId="{48BCAFF5-CCA3-42DC-90C6-A9F56995D658}" type="presOf" srcId="{848DCE86-F69D-44F6-BBE5-5636095FA717}" destId="{2B888B18-5AE3-4B08-90F4-FBA6BC237890}" srcOrd="0" destOrd="1" presId="urn:microsoft.com/office/officeart/2005/8/layout/vList5"/>
    <dgm:cxn modelId="{065AD132-765F-4FD5-A533-502BC4767C99}" type="presParOf" srcId="{BEDD38B9-0777-47DB-8133-CE51CCC18AFC}" destId="{1B8894A4-F345-439B-8B3C-9013B4A49026}" srcOrd="0" destOrd="0" presId="urn:microsoft.com/office/officeart/2005/8/layout/vList5"/>
    <dgm:cxn modelId="{34636960-1521-490D-82C1-FD0139EF1129}" type="presParOf" srcId="{1B8894A4-F345-439B-8B3C-9013B4A49026}" destId="{D3251CB0-99FB-4CE3-96C5-18A8B5F7B0C3}" srcOrd="0" destOrd="0" presId="urn:microsoft.com/office/officeart/2005/8/layout/vList5"/>
    <dgm:cxn modelId="{BA243126-886C-43ED-884D-1FECD4342108}" type="presParOf" srcId="{1B8894A4-F345-439B-8B3C-9013B4A49026}" destId="{AEFADD3C-A1B5-4D68-853B-212CDA71A881}" srcOrd="1" destOrd="0" presId="urn:microsoft.com/office/officeart/2005/8/layout/vList5"/>
    <dgm:cxn modelId="{04FA2330-F505-4A7B-8A84-4BD538BA3E8C}" type="presParOf" srcId="{BEDD38B9-0777-47DB-8133-CE51CCC18AFC}" destId="{30AD45FD-025B-455F-BAE9-15940BB30895}" srcOrd="1" destOrd="0" presId="urn:microsoft.com/office/officeart/2005/8/layout/vList5"/>
    <dgm:cxn modelId="{EF34B0B4-5B31-47E5-A565-6B46691C8359}" type="presParOf" srcId="{BEDD38B9-0777-47DB-8133-CE51CCC18AFC}" destId="{C0C22F04-3ADD-4735-A4FB-E9F3EA6151B7}" srcOrd="2" destOrd="0" presId="urn:microsoft.com/office/officeart/2005/8/layout/vList5"/>
    <dgm:cxn modelId="{C9029909-596F-412B-ACB3-3BDD2CB06483}" type="presParOf" srcId="{C0C22F04-3ADD-4735-A4FB-E9F3EA6151B7}" destId="{7735BBAA-B145-429A-A7C6-EF0BB3482726}" srcOrd="0" destOrd="0" presId="urn:microsoft.com/office/officeart/2005/8/layout/vList5"/>
    <dgm:cxn modelId="{95B086CC-6410-4512-B87A-50D7A01296AF}" type="presParOf" srcId="{C0C22F04-3ADD-4735-A4FB-E9F3EA6151B7}" destId="{553427E3-ABC7-4853-B128-320BFEBCD9AE}" srcOrd="1" destOrd="0" presId="urn:microsoft.com/office/officeart/2005/8/layout/vList5"/>
    <dgm:cxn modelId="{D3883DAA-5E29-4B06-BBA3-2F288D05CE9F}" type="presParOf" srcId="{BEDD38B9-0777-47DB-8133-CE51CCC18AFC}" destId="{30E19A31-FC0C-49D7-8784-E3CF4640143A}" srcOrd="3" destOrd="0" presId="urn:microsoft.com/office/officeart/2005/8/layout/vList5"/>
    <dgm:cxn modelId="{9ABF0078-2218-4726-93F1-C9FFF9B985D7}" type="presParOf" srcId="{BEDD38B9-0777-47DB-8133-CE51CCC18AFC}" destId="{ADC44853-3B36-49AF-9386-012AF94EF20E}" srcOrd="4" destOrd="0" presId="urn:microsoft.com/office/officeart/2005/8/layout/vList5"/>
    <dgm:cxn modelId="{1180E957-65B9-4413-AE98-F8C889333973}" type="presParOf" srcId="{ADC44853-3B36-49AF-9386-012AF94EF20E}" destId="{5F964A1F-D92B-42DE-922B-D9697E21A213}" srcOrd="0" destOrd="0" presId="urn:microsoft.com/office/officeart/2005/8/layout/vList5"/>
    <dgm:cxn modelId="{AB6659F9-B97E-40D0-A26C-4AB6DE87EC49}" type="presParOf" srcId="{ADC44853-3B36-49AF-9386-012AF94EF20E}" destId="{2B888B18-5AE3-4B08-90F4-FBA6BC23789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40D88EE-F386-4269-A059-8107BF0608B0}" type="doc">
      <dgm:prSet loTypeId="urn:microsoft.com/office/officeart/2005/8/layout/vList2" loCatId="list" qsTypeId="urn:microsoft.com/office/officeart/2005/8/quickstyle/simple1" qsCatId="simple" csTypeId="urn:microsoft.com/office/officeart/2005/8/colors/accent2_2" csCatId="accent2"/>
      <dgm:spPr/>
      <dgm:t>
        <a:bodyPr/>
        <a:lstStyle/>
        <a:p>
          <a:endParaRPr lang="en-US"/>
        </a:p>
      </dgm:t>
    </dgm:pt>
    <dgm:pt modelId="{BE956F50-3952-4472-A27E-45448227CE8E}">
      <dgm:prSet/>
      <dgm:spPr/>
      <dgm:t>
        <a:bodyPr/>
        <a:lstStyle/>
        <a:p>
          <a:r>
            <a:rPr lang="en-US"/>
            <a:t>Managing purchases depends on the method of purchase</a:t>
          </a:r>
        </a:p>
      </dgm:t>
    </dgm:pt>
    <dgm:pt modelId="{1C8E3D05-F6D8-4120-BC2F-45E99564EC8A}" type="parTrans" cxnId="{8D46D0BB-18C3-407B-8D86-92713ECA536E}">
      <dgm:prSet/>
      <dgm:spPr/>
      <dgm:t>
        <a:bodyPr/>
        <a:lstStyle/>
        <a:p>
          <a:endParaRPr lang="en-US"/>
        </a:p>
      </dgm:t>
    </dgm:pt>
    <dgm:pt modelId="{DC600C8E-1098-48BB-BABD-3CBC0459BBD7}" type="sibTrans" cxnId="{8D46D0BB-18C3-407B-8D86-92713ECA536E}">
      <dgm:prSet/>
      <dgm:spPr/>
      <dgm:t>
        <a:bodyPr/>
        <a:lstStyle/>
        <a:p>
          <a:endParaRPr lang="en-US"/>
        </a:p>
      </dgm:t>
    </dgm:pt>
    <dgm:pt modelId="{9227FA6B-5FA8-4CF4-9444-4C11ECBF5874}">
      <dgm:prSet/>
      <dgm:spPr/>
      <dgm:t>
        <a:bodyPr/>
        <a:lstStyle/>
        <a:p>
          <a:r>
            <a:rPr lang="en-US"/>
            <a:t>Purchase in Azure portal, manage in Azure portal</a:t>
          </a:r>
        </a:p>
      </dgm:t>
    </dgm:pt>
    <dgm:pt modelId="{CC5F9D4C-64EB-4D65-879C-0C1B3CDC43D0}" type="parTrans" cxnId="{6F89E841-80D8-4A13-A199-535B533391ED}">
      <dgm:prSet/>
      <dgm:spPr/>
      <dgm:t>
        <a:bodyPr/>
        <a:lstStyle/>
        <a:p>
          <a:endParaRPr lang="en-US"/>
        </a:p>
      </dgm:t>
    </dgm:pt>
    <dgm:pt modelId="{0FCB553F-BF5C-42E5-BD47-9B79EF8D2EFB}" type="sibTrans" cxnId="{6F89E841-80D8-4A13-A199-535B533391ED}">
      <dgm:prSet/>
      <dgm:spPr/>
      <dgm:t>
        <a:bodyPr/>
        <a:lstStyle/>
        <a:p>
          <a:endParaRPr lang="en-US"/>
        </a:p>
      </dgm:t>
    </dgm:pt>
    <dgm:pt modelId="{C9D34AD4-18AB-433B-899E-745282AA12F5}">
      <dgm:prSet/>
      <dgm:spPr/>
      <dgm:t>
        <a:bodyPr/>
        <a:lstStyle/>
        <a:p>
          <a:r>
            <a:rPr lang="en-US"/>
            <a:t>Purchase in AppSource, manage in Microsoft 365 Admin Center</a:t>
          </a:r>
        </a:p>
      </dgm:t>
    </dgm:pt>
    <dgm:pt modelId="{99B12287-D19E-4509-B409-8709B6AD2E89}" type="parTrans" cxnId="{C9ECDFC8-AC7F-4981-89A2-136599646D74}">
      <dgm:prSet/>
      <dgm:spPr/>
      <dgm:t>
        <a:bodyPr/>
        <a:lstStyle/>
        <a:p>
          <a:endParaRPr lang="en-US"/>
        </a:p>
      </dgm:t>
    </dgm:pt>
    <dgm:pt modelId="{9784DE59-05D3-42C8-B114-380431B4BB98}" type="sibTrans" cxnId="{C9ECDFC8-AC7F-4981-89A2-136599646D74}">
      <dgm:prSet/>
      <dgm:spPr/>
      <dgm:t>
        <a:bodyPr/>
        <a:lstStyle/>
        <a:p>
          <a:endParaRPr lang="en-US"/>
        </a:p>
      </dgm:t>
    </dgm:pt>
    <dgm:pt modelId="{A8B54D55-4788-44FA-8FCF-24E592FC2B3E}">
      <dgm:prSet/>
      <dgm:spPr/>
      <dgm:t>
        <a:bodyPr/>
        <a:lstStyle/>
        <a:p>
          <a:r>
            <a:rPr lang="en-US"/>
            <a:t>Third-party applications may be in Microsoft portals on in their own admin portal</a:t>
          </a:r>
        </a:p>
      </dgm:t>
    </dgm:pt>
    <dgm:pt modelId="{EDBC758B-2C6C-4AE2-91F6-2F2F51E77633}" type="parTrans" cxnId="{80E4B977-CED0-4F36-886D-127643998EE1}">
      <dgm:prSet/>
      <dgm:spPr/>
      <dgm:t>
        <a:bodyPr/>
        <a:lstStyle/>
        <a:p>
          <a:endParaRPr lang="en-US"/>
        </a:p>
      </dgm:t>
    </dgm:pt>
    <dgm:pt modelId="{AA1F3FBD-BB72-4DDC-81DC-3E04E1667E2D}" type="sibTrans" cxnId="{80E4B977-CED0-4F36-886D-127643998EE1}">
      <dgm:prSet/>
      <dgm:spPr/>
      <dgm:t>
        <a:bodyPr/>
        <a:lstStyle/>
        <a:p>
          <a:endParaRPr lang="en-US"/>
        </a:p>
      </dgm:t>
    </dgm:pt>
    <dgm:pt modelId="{D4814765-229A-49B4-B2AD-2CCAF3EA1CA7}">
      <dgm:prSet/>
      <dgm:spPr/>
      <dgm:t>
        <a:bodyPr/>
        <a:lstStyle/>
        <a:p>
          <a:r>
            <a:rPr lang="en-US"/>
            <a:t>Changing plans</a:t>
          </a:r>
        </a:p>
      </dgm:t>
    </dgm:pt>
    <dgm:pt modelId="{633F1549-B632-408D-BFBB-24677DFBE35C}" type="parTrans" cxnId="{6067AEA9-D752-4196-958D-BCE84F1F4F71}">
      <dgm:prSet/>
      <dgm:spPr/>
      <dgm:t>
        <a:bodyPr/>
        <a:lstStyle/>
        <a:p>
          <a:endParaRPr lang="en-US"/>
        </a:p>
      </dgm:t>
    </dgm:pt>
    <dgm:pt modelId="{3B8437E7-7493-4708-9573-232FE4C4B021}" type="sibTrans" cxnId="{6067AEA9-D752-4196-958D-BCE84F1F4F71}">
      <dgm:prSet/>
      <dgm:spPr/>
      <dgm:t>
        <a:bodyPr/>
        <a:lstStyle/>
        <a:p>
          <a:endParaRPr lang="en-US"/>
        </a:p>
      </dgm:t>
    </dgm:pt>
    <dgm:pt modelId="{B26D4189-5D29-46CF-B8D0-E68D3C55A6EE}">
      <dgm:prSet/>
      <dgm:spPr/>
      <dgm:t>
        <a:bodyPr/>
        <a:lstStyle/>
        <a:p>
          <a:r>
            <a:rPr lang="en-US"/>
            <a:t>Requires Owner or Contributor role permissions</a:t>
          </a:r>
        </a:p>
      </dgm:t>
    </dgm:pt>
    <dgm:pt modelId="{14BF2549-910D-4DBF-8729-85095E65B7DA}" type="parTrans" cxnId="{19B614A2-A4A1-4E2A-828A-D35A6F98E77F}">
      <dgm:prSet/>
      <dgm:spPr/>
      <dgm:t>
        <a:bodyPr/>
        <a:lstStyle/>
        <a:p>
          <a:endParaRPr lang="en-US"/>
        </a:p>
      </dgm:t>
    </dgm:pt>
    <dgm:pt modelId="{41105B2D-660C-46E6-B2C4-5CCFFA3F67AE}" type="sibTrans" cxnId="{19B614A2-A4A1-4E2A-828A-D35A6F98E77F}">
      <dgm:prSet/>
      <dgm:spPr/>
      <dgm:t>
        <a:bodyPr/>
        <a:lstStyle/>
        <a:p>
          <a:endParaRPr lang="en-US"/>
        </a:p>
      </dgm:t>
    </dgm:pt>
    <dgm:pt modelId="{70BBF699-D503-4705-829F-E0D0A8C5D0C9}" type="pres">
      <dgm:prSet presAssocID="{540D88EE-F386-4269-A059-8107BF0608B0}" presName="linear" presStyleCnt="0">
        <dgm:presLayoutVars>
          <dgm:animLvl val="lvl"/>
          <dgm:resizeHandles val="exact"/>
        </dgm:presLayoutVars>
      </dgm:prSet>
      <dgm:spPr/>
    </dgm:pt>
    <dgm:pt modelId="{D0E69083-1DC3-4E03-A7B4-985F56389913}" type="pres">
      <dgm:prSet presAssocID="{BE956F50-3952-4472-A27E-45448227CE8E}" presName="parentText" presStyleLbl="node1" presStyleIdx="0" presStyleCnt="2">
        <dgm:presLayoutVars>
          <dgm:chMax val="0"/>
          <dgm:bulletEnabled val="1"/>
        </dgm:presLayoutVars>
      </dgm:prSet>
      <dgm:spPr/>
    </dgm:pt>
    <dgm:pt modelId="{E638B426-B4C3-486D-B24F-F0D708A27113}" type="pres">
      <dgm:prSet presAssocID="{BE956F50-3952-4472-A27E-45448227CE8E}" presName="childText" presStyleLbl="revTx" presStyleIdx="0" presStyleCnt="2">
        <dgm:presLayoutVars>
          <dgm:bulletEnabled val="1"/>
        </dgm:presLayoutVars>
      </dgm:prSet>
      <dgm:spPr/>
    </dgm:pt>
    <dgm:pt modelId="{C785C48D-C559-486A-9C47-1603B8BACE70}" type="pres">
      <dgm:prSet presAssocID="{D4814765-229A-49B4-B2AD-2CCAF3EA1CA7}" presName="parentText" presStyleLbl="node1" presStyleIdx="1" presStyleCnt="2">
        <dgm:presLayoutVars>
          <dgm:chMax val="0"/>
          <dgm:bulletEnabled val="1"/>
        </dgm:presLayoutVars>
      </dgm:prSet>
      <dgm:spPr/>
    </dgm:pt>
    <dgm:pt modelId="{18423F23-6E3D-4752-AD23-F8A327AAF702}" type="pres">
      <dgm:prSet presAssocID="{D4814765-229A-49B4-B2AD-2CCAF3EA1CA7}" presName="childText" presStyleLbl="revTx" presStyleIdx="1" presStyleCnt="2">
        <dgm:presLayoutVars>
          <dgm:bulletEnabled val="1"/>
        </dgm:presLayoutVars>
      </dgm:prSet>
      <dgm:spPr/>
    </dgm:pt>
  </dgm:ptLst>
  <dgm:cxnLst>
    <dgm:cxn modelId="{8D71EA0D-F98F-4F80-B10D-ABB59E75B6C7}" type="presOf" srcId="{540D88EE-F386-4269-A059-8107BF0608B0}" destId="{70BBF699-D503-4705-829F-E0D0A8C5D0C9}" srcOrd="0" destOrd="0" presId="urn:microsoft.com/office/officeart/2005/8/layout/vList2"/>
    <dgm:cxn modelId="{05286628-6BBB-43BA-9E84-2283F8B86D12}" type="presOf" srcId="{C9D34AD4-18AB-433B-899E-745282AA12F5}" destId="{E638B426-B4C3-486D-B24F-F0D708A27113}" srcOrd="0" destOrd="1" presId="urn:microsoft.com/office/officeart/2005/8/layout/vList2"/>
    <dgm:cxn modelId="{A55B6A28-5388-49F4-A0C6-A6F2A4A728BB}" type="presOf" srcId="{BE956F50-3952-4472-A27E-45448227CE8E}" destId="{D0E69083-1DC3-4E03-A7B4-985F56389913}" srcOrd="0" destOrd="0" presId="urn:microsoft.com/office/officeart/2005/8/layout/vList2"/>
    <dgm:cxn modelId="{6F89E841-80D8-4A13-A199-535B533391ED}" srcId="{BE956F50-3952-4472-A27E-45448227CE8E}" destId="{9227FA6B-5FA8-4CF4-9444-4C11ECBF5874}" srcOrd="0" destOrd="0" parTransId="{CC5F9D4C-64EB-4D65-879C-0C1B3CDC43D0}" sibTransId="{0FCB553F-BF5C-42E5-BD47-9B79EF8D2EFB}"/>
    <dgm:cxn modelId="{15961A68-D3F7-4FAA-8093-25B456F6BB39}" type="presOf" srcId="{9227FA6B-5FA8-4CF4-9444-4C11ECBF5874}" destId="{E638B426-B4C3-486D-B24F-F0D708A27113}" srcOrd="0" destOrd="0" presId="urn:microsoft.com/office/officeart/2005/8/layout/vList2"/>
    <dgm:cxn modelId="{80E4B977-CED0-4F36-886D-127643998EE1}" srcId="{BE956F50-3952-4472-A27E-45448227CE8E}" destId="{A8B54D55-4788-44FA-8FCF-24E592FC2B3E}" srcOrd="2" destOrd="0" parTransId="{EDBC758B-2C6C-4AE2-91F6-2F2F51E77633}" sibTransId="{AA1F3FBD-BB72-4DDC-81DC-3E04E1667E2D}"/>
    <dgm:cxn modelId="{19B614A2-A4A1-4E2A-828A-D35A6F98E77F}" srcId="{D4814765-229A-49B4-B2AD-2CCAF3EA1CA7}" destId="{B26D4189-5D29-46CF-B8D0-E68D3C55A6EE}" srcOrd="0" destOrd="0" parTransId="{14BF2549-910D-4DBF-8729-85095E65B7DA}" sibTransId="{41105B2D-660C-46E6-B2C4-5CCFFA3F67AE}"/>
    <dgm:cxn modelId="{6067AEA9-D752-4196-958D-BCE84F1F4F71}" srcId="{540D88EE-F386-4269-A059-8107BF0608B0}" destId="{D4814765-229A-49B4-B2AD-2CCAF3EA1CA7}" srcOrd="1" destOrd="0" parTransId="{633F1549-B632-408D-BFBB-24677DFBE35C}" sibTransId="{3B8437E7-7493-4708-9573-232FE4C4B021}"/>
    <dgm:cxn modelId="{A97F75B9-CD5C-4972-B94A-4EEC40E3A7FE}" type="presOf" srcId="{B26D4189-5D29-46CF-B8D0-E68D3C55A6EE}" destId="{18423F23-6E3D-4752-AD23-F8A327AAF702}" srcOrd="0" destOrd="0" presId="urn:microsoft.com/office/officeart/2005/8/layout/vList2"/>
    <dgm:cxn modelId="{8D46D0BB-18C3-407B-8D86-92713ECA536E}" srcId="{540D88EE-F386-4269-A059-8107BF0608B0}" destId="{BE956F50-3952-4472-A27E-45448227CE8E}" srcOrd="0" destOrd="0" parTransId="{1C8E3D05-F6D8-4120-BC2F-45E99564EC8A}" sibTransId="{DC600C8E-1098-48BB-BABD-3CBC0459BBD7}"/>
    <dgm:cxn modelId="{C9ECDFC8-AC7F-4981-89A2-136599646D74}" srcId="{BE956F50-3952-4472-A27E-45448227CE8E}" destId="{C9D34AD4-18AB-433B-899E-745282AA12F5}" srcOrd="1" destOrd="0" parTransId="{99B12287-D19E-4509-B409-8709B6AD2E89}" sibTransId="{9784DE59-05D3-42C8-B114-380431B4BB98}"/>
    <dgm:cxn modelId="{C6B361CC-A5CD-4213-A9BB-141639DBC4A6}" type="presOf" srcId="{A8B54D55-4788-44FA-8FCF-24E592FC2B3E}" destId="{E638B426-B4C3-486D-B24F-F0D708A27113}" srcOrd="0" destOrd="2" presId="urn:microsoft.com/office/officeart/2005/8/layout/vList2"/>
    <dgm:cxn modelId="{88D644E8-70BE-4773-8643-70F3C7AB38F2}" type="presOf" srcId="{D4814765-229A-49B4-B2AD-2CCAF3EA1CA7}" destId="{C785C48D-C559-486A-9C47-1603B8BACE70}" srcOrd="0" destOrd="0" presId="urn:microsoft.com/office/officeart/2005/8/layout/vList2"/>
    <dgm:cxn modelId="{35013E7F-ECDD-4915-8805-1F1E5F629BFC}" type="presParOf" srcId="{70BBF699-D503-4705-829F-E0D0A8C5D0C9}" destId="{D0E69083-1DC3-4E03-A7B4-985F56389913}" srcOrd="0" destOrd="0" presId="urn:microsoft.com/office/officeart/2005/8/layout/vList2"/>
    <dgm:cxn modelId="{419101E6-912F-4DD6-AAFF-4E473DB4A9DC}" type="presParOf" srcId="{70BBF699-D503-4705-829F-E0D0A8C5D0C9}" destId="{E638B426-B4C3-486D-B24F-F0D708A27113}" srcOrd="1" destOrd="0" presId="urn:microsoft.com/office/officeart/2005/8/layout/vList2"/>
    <dgm:cxn modelId="{1CBFD53C-A4D8-4ECE-8B13-F8E7FFDCED54}" type="presParOf" srcId="{70BBF699-D503-4705-829F-E0D0A8C5D0C9}" destId="{C785C48D-C559-486A-9C47-1603B8BACE70}" srcOrd="2" destOrd="0" presId="urn:microsoft.com/office/officeart/2005/8/layout/vList2"/>
    <dgm:cxn modelId="{FD632407-3BC7-4FDA-977E-FB51DAF23140}" type="presParOf" srcId="{70BBF699-D503-4705-829F-E0D0A8C5D0C9}" destId="{18423F23-6E3D-4752-AD23-F8A327AAF702}"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6E6DFA-314E-4D95-BB89-0AAF59A1AE01}" type="doc">
      <dgm:prSet loTypeId="urn:microsoft.com/office/officeart/2016/7/layout/RepeatingBendingProcessNew" loCatId="process" qsTypeId="urn:microsoft.com/office/officeart/2005/8/quickstyle/simple1" qsCatId="simple" csTypeId="urn:microsoft.com/office/officeart/2005/8/colors/accent2_2" csCatId="accent2"/>
      <dgm:spPr/>
      <dgm:t>
        <a:bodyPr/>
        <a:lstStyle/>
        <a:p>
          <a:endParaRPr lang="en-US"/>
        </a:p>
      </dgm:t>
    </dgm:pt>
    <dgm:pt modelId="{51A7BD30-DF04-4C26-BB4E-C3E82F3A3665}">
      <dgm:prSet/>
      <dgm:spPr/>
      <dgm:t>
        <a:bodyPr/>
        <a:lstStyle/>
        <a:p>
          <a:r>
            <a:rPr lang="en-US"/>
            <a:t>Go to the Azure Marketplace</a:t>
          </a:r>
        </a:p>
      </dgm:t>
    </dgm:pt>
    <dgm:pt modelId="{3FE19FD1-56F6-445F-B20E-74EEF680FB11}" type="parTrans" cxnId="{64EE4346-4A50-4F20-BAEA-58E3EAA73426}">
      <dgm:prSet/>
      <dgm:spPr/>
      <dgm:t>
        <a:bodyPr/>
        <a:lstStyle/>
        <a:p>
          <a:endParaRPr lang="en-US"/>
        </a:p>
      </dgm:t>
    </dgm:pt>
    <dgm:pt modelId="{CDA6EFEA-E7AF-4C46-9D4A-123B7B66AB11}" type="sibTrans" cxnId="{64EE4346-4A50-4F20-BAEA-58E3EAA73426}">
      <dgm:prSet/>
      <dgm:spPr/>
      <dgm:t>
        <a:bodyPr/>
        <a:lstStyle/>
        <a:p>
          <a:endParaRPr lang="en-US"/>
        </a:p>
      </dgm:t>
    </dgm:pt>
    <dgm:pt modelId="{9F994A07-CBDB-4575-822C-FB02FBD2328E}">
      <dgm:prSet/>
      <dgm:spPr/>
      <dgm:t>
        <a:bodyPr/>
        <a:lstStyle/>
        <a:p>
          <a:r>
            <a:rPr lang="en-US"/>
            <a:t>Use the Browse apps to select IT &amp; Management tools</a:t>
          </a:r>
        </a:p>
      </dgm:t>
    </dgm:pt>
    <dgm:pt modelId="{F800E026-8CC8-4206-AE55-A7EB109B5E48}" type="parTrans" cxnId="{196738C7-AA75-4FB5-B77F-6775048D6A56}">
      <dgm:prSet/>
      <dgm:spPr/>
      <dgm:t>
        <a:bodyPr/>
        <a:lstStyle/>
        <a:p>
          <a:endParaRPr lang="en-US"/>
        </a:p>
      </dgm:t>
    </dgm:pt>
    <dgm:pt modelId="{29B32662-4C99-493E-B016-2626713A417A}" type="sibTrans" cxnId="{196738C7-AA75-4FB5-B77F-6775048D6A56}">
      <dgm:prSet/>
      <dgm:spPr/>
      <dgm:t>
        <a:bodyPr/>
        <a:lstStyle/>
        <a:p>
          <a:endParaRPr lang="en-US"/>
        </a:p>
      </dgm:t>
    </dgm:pt>
    <dgm:pt modelId="{330916E7-6F3E-45D2-A2BC-13FDA0EB0666}">
      <dgm:prSet/>
      <dgm:spPr/>
      <dgm:t>
        <a:bodyPr/>
        <a:lstStyle/>
        <a:p>
          <a:r>
            <a:rPr lang="en-US"/>
            <a:t>Filter the Operating System to Windows</a:t>
          </a:r>
        </a:p>
      </dgm:t>
    </dgm:pt>
    <dgm:pt modelId="{6F383D3A-2732-448B-BF92-5326B3889DAC}" type="parTrans" cxnId="{8F43C4A7-9118-4D92-B0B2-A58A09E532AC}">
      <dgm:prSet/>
      <dgm:spPr/>
      <dgm:t>
        <a:bodyPr/>
        <a:lstStyle/>
        <a:p>
          <a:endParaRPr lang="en-US"/>
        </a:p>
      </dgm:t>
    </dgm:pt>
    <dgm:pt modelId="{1A955E01-BC88-4F07-B68E-35A0837419F3}" type="sibTrans" cxnId="{8F43C4A7-9118-4D92-B0B2-A58A09E532AC}">
      <dgm:prSet/>
      <dgm:spPr/>
      <dgm:t>
        <a:bodyPr/>
        <a:lstStyle/>
        <a:p>
          <a:endParaRPr lang="en-US"/>
        </a:p>
      </dgm:t>
    </dgm:pt>
    <dgm:pt modelId="{CD9183D1-08A5-43CE-95ED-37E9E3726863}">
      <dgm:prSet/>
      <dgm:spPr/>
      <dgm:t>
        <a:bodyPr/>
        <a:lstStyle/>
        <a:p>
          <a:r>
            <a:rPr lang="en-US"/>
            <a:t>Filter the Pricing Model to Free</a:t>
          </a:r>
        </a:p>
      </dgm:t>
    </dgm:pt>
    <dgm:pt modelId="{D0EC23EA-8BB3-464F-BB10-5BF25412D983}" type="parTrans" cxnId="{4EF6BEB6-018A-4061-BA09-FE095163628B}">
      <dgm:prSet/>
      <dgm:spPr/>
      <dgm:t>
        <a:bodyPr/>
        <a:lstStyle/>
        <a:p>
          <a:endParaRPr lang="en-US"/>
        </a:p>
      </dgm:t>
    </dgm:pt>
    <dgm:pt modelId="{1D36450C-954F-4258-AA6F-A22092C7E213}" type="sibTrans" cxnId="{4EF6BEB6-018A-4061-BA09-FE095163628B}">
      <dgm:prSet/>
      <dgm:spPr/>
      <dgm:t>
        <a:bodyPr/>
        <a:lstStyle/>
        <a:p>
          <a:endParaRPr lang="en-US"/>
        </a:p>
      </dgm:t>
    </dgm:pt>
    <dgm:pt modelId="{646F5101-FAF7-43D9-A9DE-BC6F80DF1B48}">
      <dgm:prSet/>
      <dgm:spPr/>
      <dgm:t>
        <a:bodyPr/>
        <a:lstStyle/>
        <a:p>
          <a:r>
            <a:rPr lang="en-US"/>
            <a:t>Find an app</a:t>
          </a:r>
        </a:p>
      </dgm:t>
    </dgm:pt>
    <dgm:pt modelId="{8655A787-8E1D-43D9-815C-316E6F863A7B}" type="parTrans" cxnId="{B6E80507-BBCA-4176-AD16-A5F1BB498203}">
      <dgm:prSet/>
      <dgm:spPr/>
      <dgm:t>
        <a:bodyPr/>
        <a:lstStyle/>
        <a:p>
          <a:endParaRPr lang="en-US"/>
        </a:p>
      </dgm:t>
    </dgm:pt>
    <dgm:pt modelId="{71A47EEB-5954-4628-838E-A5CEF69F16DA}" type="sibTrans" cxnId="{B6E80507-BBCA-4176-AD16-A5F1BB498203}">
      <dgm:prSet/>
      <dgm:spPr/>
      <dgm:t>
        <a:bodyPr/>
        <a:lstStyle/>
        <a:p>
          <a:endParaRPr lang="en-US"/>
        </a:p>
      </dgm:t>
    </dgm:pt>
    <dgm:pt modelId="{B84BFD5D-263A-432D-85CC-6D488E7FC1A2}">
      <dgm:prSet/>
      <dgm:spPr/>
      <dgm:t>
        <a:bodyPr/>
        <a:lstStyle/>
        <a:p>
          <a:r>
            <a:rPr lang="en-US"/>
            <a:t>Mark it as a favorite</a:t>
          </a:r>
        </a:p>
      </dgm:t>
    </dgm:pt>
    <dgm:pt modelId="{AC79685A-A0D0-44DB-A248-80561CD2F1A9}" type="parTrans" cxnId="{B797DCEA-64A3-4A85-A82B-1B1AA78E92EB}">
      <dgm:prSet/>
      <dgm:spPr/>
      <dgm:t>
        <a:bodyPr/>
        <a:lstStyle/>
        <a:p>
          <a:endParaRPr lang="en-US"/>
        </a:p>
      </dgm:t>
    </dgm:pt>
    <dgm:pt modelId="{1E5B8A58-B8B6-4CB0-8135-7B2E2D0A4FB3}" type="sibTrans" cxnId="{B797DCEA-64A3-4A85-A82B-1B1AA78E92EB}">
      <dgm:prSet/>
      <dgm:spPr/>
      <dgm:t>
        <a:bodyPr/>
        <a:lstStyle/>
        <a:p>
          <a:endParaRPr lang="en-US"/>
        </a:p>
      </dgm:t>
    </dgm:pt>
    <dgm:pt modelId="{004167E4-0831-4C8C-AE98-19EC380185D3}" type="pres">
      <dgm:prSet presAssocID="{F66E6DFA-314E-4D95-BB89-0AAF59A1AE01}" presName="Name0" presStyleCnt="0">
        <dgm:presLayoutVars>
          <dgm:dir/>
          <dgm:resizeHandles val="exact"/>
        </dgm:presLayoutVars>
      </dgm:prSet>
      <dgm:spPr/>
    </dgm:pt>
    <dgm:pt modelId="{F445DC15-31BF-4C55-83B9-B0136CC587EE}" type="pres">
      <dgm:prSet presAssocID="{51A7BD30-DF04-4C26-BB4E-C3E82F3A3665}" presName="node" presStyleLbl="node1" presStyleIdx="0" presStyleCnt="6">
        <dgm:presLayoutVars>
          <dgm:bulletEnabled val="1"/>
        </dgm:presLayoutVars>
      </dgm:prSet>
      <dgm:spPr/>
    </dgm:pt>
    <dgm:pt modelId="{AC72A67E-F027-4D72-87B6-23EB78A0DEFE}" type="pres">
      <dgm:prSet presAssocID="{CDA6EFEA-E7AF-4C46-9D4A-123B7B66AB11}" presName="sibTrans" presStyleLbl="sibTrans1D1" presStyleIdx="0" presStyleCnt="5"/>
      <dgm:spPr/>
    </dgm:pt>
    <dgm:pt modelId="{8CE8474C-9912-44F9-86B8-A04BA38DDEEE}" type="pres">
      <dgm:prSet presAssocID="{CDA6EFEA-E7AF-4C46-9D4A-123B7B66AB11}" presName="connectorText" presStyleLbl="sibTrans1D1" presStyleIdx="0" presStyleCnt="5"/>
      <dgm:spPr/>
    </dgm:pt>
    <dgm:pt modelId="{EB354E04-058A-4AA4-85A8-7C138C55625A}" type="pres">
      <dgm:prSet presAssocID="{9F994A07-CBDB-4575-822C-FB02FBD2328E}" presName="node" presStyleLbl="node1" presStyleIdx="1" presStyleCnt="6">
        <dgm:presLayoutVars>
          <dgm:bulletEnabled val="1"/>
        </dgm:presLayoutVars>
      </dgm:prSet>
      <dgm:spPr/>
    </dgm:pt>
    <dgm:pt modelId="{2EFF4D28-6C6A-4B85-83C6-9CD2C53A2423}" type="pres">
      <dgm:prSet presAssocID="{29B32662-4C99-493E-B016-2626713A417A}" presName="sibTrans" presStyleLbl="sibTrans1D1" presStyleIdx="1" presStyleCnt="5"/>
      <dgm:spPr/>
    </dgm:pt>
    <dgm:pt modelId="{D59B9AE0-C297-490F-A2DF-412ABBFB99F4}" type="pres">
      <dgm:prSet presAssocID="{29B32662-4C99-493E-B016-2626713A417A}" presName="connectorText" presStyleLbl="sibTrans1D1" presStyleIdx="1" presStyleCnt="5"/>
      <dgm:spPr/>
    </dgm:pt>
    <dgm:pt modelId="{183043C8-3433-4F21-9078-6ED8653DBAD2}" type="pres">
      <dgm:prSet presAssocID="{330916E7-6F3E-45D2-A2BC-13FDA0EB0666}" presName="node" presStyleLbl="node1" presStyleIdx="2" presStyleCnt="6">
        <dgm:presLayoutVars>
          <dgm:bulletEnabled val="1"/>
        </dgm:presLayoutVars>
      </dgm:prSet>
      <dgm:spPr/>
    </dgm:pt>
    <dgm:pt modelId="{9C55E4F5-1522-458D-A6B7-A164F1E08114}" type="pres">
      <dgm:prSet presAssocID="{1A955E01-BC88-4F07-B68E-35A0837419F3}" presName="sibTrans" presStyleLbl="sibTrans1D1" presStyleIdx="2" presStyleCnt="5"/>
      <dgm:spPr/>
    </dgm:pt>
    <dgm:pt modelId="{322F11D8-E7FE-4E86-899E-CA469CD007D1}" type="pres">
      <dgm:prSet presAssocID="{1A955E01-BC88-4F07-B68E-35A0837419F3}" presName="connectorText" presStyleLbl="sibTrans1D1" presStyleIdx="2" presStyleCnt="5"/>
      <dgm:spPr/>
    </dgm:pt>
    <dgm:pt modelId="{DE462207-B980-4D00-8F94-90F97EA9412C}" type="pres">
      <dgm:prSet presAssocID="{CD9183D1-08A5-43CE-95ED-37E9E3726863}" presName="node" presStyleLbl="node1" presStyleIdx="3" presStyleCnt="6">
        <dgm:presLayoutVars>
          <dgm:bulletEnabled val="1"/>
        </dgm:presLayoutVars>
      </dgm:prSet>
      <dgm:spPr/>
    </dgm:pt>
    <dgm:pt modelId="{58EA2DB5-C91A-4AC2-836A-D2FBE795CA26}" type="pres">
      <dgm:prSet presAssocID="{1D36450C-954F-4258-AA6F-A22092C7E213}" presName="sibTrans" presStyleLbl="sibTrans1D1" presStyleIdx="3" presStyleCnt="5"/>
      <dgm:spPr/>
    </dgm:pt>
    <dgm:pt modelId="{FA15D500-943C-43CE-B0B8-08F14802A28A}" type="pres">
      <dgm:prSet presAssocID="{1D36450C-954F-4258-AA6F-A22092C7E213}" presName="connectorText" presStyleLbl="sibTrans1D1" presStyleIdx="3" presStyleCnt="5"/>
      <dgm:spPr/>
    </dgm:pt>
    <dgm:pt modelId="{5FDAE6CF-FDEA-41E3-B115-135907836B45}" type="pres">
      <dgm:prSet presAssocID="{646F5101-FAF7-43D9-A9DE-BC6F80DF1B48}" presName="node" presStyleLbl="node1" presStyleIdx="4" presStyleCnt="6">
        <dgm:presLayoutVars>
          <dgm:bulletEnabled val="1"/>
        </dgm:presLayoutVars>
      </dgm:prSet>
      <dgm:spPr/>
    </dgm:pt>
    <dgm:pt modelId="{0786F294-3133-4B99-AD7C-C385CF6EA7A7}" type="pres">
      <dgm:prSet presAssocID="{71A47EEB-5954-4628-838E-A5CEF69F16DA}" presName="sibTrans" presStyleLbl="sibTrans1D1" presStyleIdx="4" presStyleCnt="5"/>
      <dgm:spPr/>
    </dgm:pt>
    <dgm:pt modelId="{8875E442-4C0D-4F62-8B3C-9C8CFEB4ADB1}" type="pres">
      <dgm:prSet presAssocID="{71A47EEB-5954-4628-838E-A5CEF69F16DA}" presName="connectorText" presStyleLbl="sibTrans1D1" presStyleIdx="4" presStyleCnt="5"/>
      <dgm:spPr/>
    </dgm:pt>
    <dgm:pt modelId="{A8EA05AD-E3DC-4F8F-BDF0-1B3252899B3C}" type="pres">
      <dgm:prSet presAssocID="{B84BFD5D-263A-432D-85CC-6D488E7FC1A2}" presName="node" presStyleLbl="node1" presStyleIdx="5" presStyleCnt="6">
        <dgm:presLayoutVars>
          <dgm:bulletEnabled val="1"/>
        </dgm:presLayoutVars>
      </dgm:prSet>
      <dgm:spPr/>
    </dgm:pt>
  </dgm:ptLst>
  <dgm:cxnLst>
    <dgm:cxn modelId="{B6E80507-BBCA-4176-AD16-A5F1BB498203}" srcId="{F66E6DFA-314E-4D95-BB89-0AAF59A1AE01}" destId="{646F5101-FAF7-43D9-A9DE-BC6F80DF1B48}" srcOrd="4" destOrd="0" parTransId="{8655A787-8E1D-43D9-815C-316E6F863A7B}" sibTransId="{71A47EEB-5954-4628-838E-A5CEF69F16DA}"/>
    <dgm:cxn modelId="{BDA82D14-C8C9-46F5-90A6-C981D49A986A}" type="presOf" srcId="{CDA6EFEA-E7AF-4C46-9D4A-123B7B66AB11}" destId="{AC72A67E-F027-4D72-87B6-23EB78A0DEFE}" srcOrd="0" destOrd="0" presId="urn:microsoft.com/office/officeart/2016/7/layout/RepeatingBendingProcessNew"/>
    <dgm:cxn modelId="{9EA8DB15-DE51-4D81-A1DC-F313A59C1A53}" type="presOf" srcId="{29B32662-4C99-493E-B016-2626713A417A}" destId="{D59B9AE0-C297-490F-A2DF-412ABBFB99F4}" srcOrd="1" destOrd="0" presId="urn:microsoft.com/office/officeart/2016/7/layout/RepeatingBendingProcessNew"/>
    <dgm:cxn modelId="{E35AA929-8359-4846-8F65-FCF58A859FC7}" type="presOf" srcId="{71A47EEB-5954-4628-838E-A5CEF69F16DA}" destId="{0786F294-3133-4B99-AD7C-C385CF6EA7A7}" srcOrd="0" destOrd="0" presId="urn:microsoft.com/office/officeart/2016/7/layout/RepeatingBendingProcessNew"/>
    <dgm:cxn modelId="{92CDF631-9420-44EF-B0C1-C1F0E2FCCB2F}" type="presOf" srcId="{71A47EEB-5954-4628-838E-A5CEF69F16DA}" destId="{8875E442-4C0D-4F62-8B3C-9C8CFEB4ADB1}" srcOrd="1" destOrd="0" presId="urn:microsoft.com/office/officeart/2016/7/layout/RepeatingBendingProcessNew"/>
    <dgm:cxn modelId="{4E80D63F-6979-4D6A-BBC4-3EC28085A741}" type="presOf" srcId="{1A955E01-BC88-4F07-B68E-35A0837419F3}" destId="{322F11D8-E7FE-4E86-899E-CA469CD007D1}" srcOrd="1" destOrd="0" presId="urn:microsoft.com/office/officeart/2016/7/layout/RepeatingBendingProcessNew"/>
    <dgm:cxn modelId="{64EE4346-4A50-4F20-BAEA-58E3EAA73426}" srcId="{F66E6DFA-314E-4D95-BB89-0AAF59A1AE01}" destId="{51A7BD30-DF04-4C26-BB4E-C3E82F3A3665}" srcOrd="0" destOrd="0" parTransId="{3FE19FD1-56F6-445F-B20E-74EEF680FB11}" sibTransId="{CDA6EFEA-E7AF-4C46-9D4A-123B7B66AB11}"/>
    <dgm:cxn modelId="{6C930D48-3DF8-4DBD-AA5A-447E78716EF4}" type="presOf" srcId="{29B32662-4C99-493E-B016-2626713A417A}" destId="{2EFF4D28-6C6A-4B85-83C6-9CD2C53A2423}" srcOrd="0" destOrd="0" presId="urn:microsoft.com/office/officeart/2016/7/layout/RepeatingBendingProcessNew"/>
    <dgm:cxn modelId="{B127A772-C6C1-4183-96EB-21CFD911F502}" type="presOf" srcId="{1A955E01-BC88-4F07-B68E-35A0837419F3}" destId="{9C55E4F5-1522-458D-A6B7-A164F1E08114}" srcOrd="0" destOrd="0" presId="urn:microsoft.com/office/officeart/2016/7/layout/RepeatingBendingProcessNew"/>
    <dgm:cxn modelId="{B2EE7782-B077-4AB2-980A-3C64E4672278}" type="presOf" srcId="{1D36450C-954F-4258-AA6F-A22092C7E213}" destId="{FA15D500-943C-43CE-B0B8-08F14802A28A}" srcOrd="1" destOrd="0" presId="urn:microsoft.com/office/officeart/2016/7/layout/RepeatingBendingProcessNew"/>
    <dgm:cxn modelId="{BDB3E683-17D9-4FAB-9CD5-E4E4CFB0B8D4}" type="presOf" srcId="{CDA6EFEA-E7AF-4C46-9D4A-123B7B66AB11}" destId="{8CE8474C-9912-44F9-86B8-A04BA38DDEEE}" srcOrd="1" destOrd="0" presId="urn:microsoft.com/office/officeart/2016/7/layout/RepeatingBendingProcessNew"/>
    <dgm:cxn modelId="{C710DB85-347E-439E-AAB6-98BF1E86CB2E}" type="presOf" srcId="{F66E6DFA-314E-4D95-BB89-0AAF59A1AE01}" destId="{004167E4-0831-4C8C-AE98-19EC380185D3}" srcOrd="0" destOrd="0" presId="urn:microsoft.com/office/officeart/2016/7/layout/RepeatingBendingProcessNew"/>
    <dgm:cxn modelId="{6A12F786-5A23-40B3-9FB8-8FD579FF3970}" type="presOf" srcId="{1D36450C-954F-4258-AA6F-A22092C7E213}" destId="{58EA2DB5-C91A-4AC2-836A-D2FBE795CA26}" srcOrd="0" destOrd="0" presId="urn:microsoft.com/office/officeart/2016/7/layout/RepeatingBendingProcessNew"/>
    <dgm:cxn modelId="{8F43C4A7-9118-4D92-B0B2-A58A09E532AC}" srcId="{F66E6DFA-314E-4D95-BB89-0AAF59A1AE01}" destId="{330916E7-6F3E-45D2-A2BC-13FDA0EB0666}" srcOrd="2" destOrd="0" parTransId="{6F383D3A-2732-448B-BF92-5326B3889DAC}" sibTransId="{1A955E01-BC88-4F07-B68E-35A0837419F3}"/>
    <dgm:cxn modelId="{4EF6BEB6-018A-4061-BA09-FE095163628B}" srcId="{F66E6DFA-314E-4D95-BB89-0AAF59A1AE01}" destId="{CD9183D1-08A5-43CE-95ED-37E9E3726863}" srcOrd="3" destOrd="0" parTransId="{D0EC23EA-8BB3-464F-BB10-5BF25412D983}" sibTransId="{1D36450C-954F-4258-AA6F-A22092C7E213}"/>
    <dgm:cxn modelId="{B7CE19B8-4C1B-4408-920B-A020C27DAB5F}" type="presOf" srcId="{51A7BD30-DF04-4C26-BB4E-C3E82F3A3665}" destId="{F445DC15-31BF-4C55-83B9-B0136CC587EE}" srcOrd="0" destOrd="0" presId="urn:microsoft.com/office/officeart/2016/7/layout/RepeatingBendingProcessNew"/>
    <dgm:cxn modelId="{238A4BBB-5BDF-40A1-BAAE-9AAE1A5E64B4}" type="presOf" srcId="{330916E7-6F3E-45D2-A2BC-13FDA0EB0666}" destId="{183043C8-3433-4F21-9078-6ED8653DBAD2}" srcOrd="0" destOrd="0" presId="urn:microsoft.com/office/officeart/2016/7/layout/RepeatingBendingProcessNew"/>
    <dgm:cxn modelId="{196738C7-AA75-4FB5-B77F-6775048D6A56}" srcId="{F66E6DFA-314E-4D95-BB89-0AAF59A1AE01}" destId="{9F994A07-CBDB-4575-822C-FB02FBD2328E}" srcOrd="1" destOrd="0" parTransId="{F800E026-8CC8-4206-AE55-A7EB109B5E48}" sibTransId="{29B32662-4C99-493E-B016-2626713A417A}"/>
    <dgm:cxn modelId="{636376C7-86F5-41F0-B55F-70A650641193}" type="presOf" srcId="{B84BFD5D-263A-432D-85CC-6D488E7FC1A2}" destId="{A8EA05AD-E3DC-4F8F-BDF0-1B3252899B3C}" srcOrd="0" destOrd="0" presId="urn:microsoft.com/office/officeart/2016/7/layout/RepeatingBendingProcessNew"/>
    <dgm:cxn modelId="{7507CCD3-9B2A-4A03-A493-98EFC3162F19}" type="presOf" srcId="{646F5101-FAF7-43D9-A9DE-BC6F80DF1B48}" destId="{5FDAE6CF-FDEA-41E3-B115-135907836B45}" srcOrd="0" destOrd="0" presId="urn:microsoft.com/office/officeart/2016/7/layout/RepeatingBendingProcessNew"/>
    <dgm:cxn modelId="{B797DCEA-64A3-4A85-A82B-1B1AA78E92EB}" srcId="{F66E6DFA-314E-4D95-BB89-0AAF59A1AE01}" destId="{B84BFD5D-263A-432D-85CC-6D488E7FC1A2}" srcOrd="5" destOrd="0" parTransId="{AC79685A-A0D0-44DB-A248-80561CD2F1A9}" sibTransId="{1E5B8A58-B8B6-4CB0-8135-7B2E2D0A4FB3}"/>
    <dgm:cxn modelId="{388330EC-1FB5-4FC9-AB71-7C8990D2A6C1}" type="presOf" srcId="{9F994A07-CBDB-4575-822C-FB02FBD2328E}" destId="{EB354E04-058A-4AA4-85A8-7C138C55625A}" srcOrd="0" destOrd="0" presId="urn:microsoft.com/office/officeart/2016/7/layout/RepeatingBendingProcessNew"/>
    <dgm:cxn modelId="{28D3D7F4-AC2A-4C89-8634-9B0E8D7D6EB4}" type="presOf" srcId="{CD9183D1-08A5-43CE-95ED-37E9E3726863}" destId="{DE462207-B980-4D00-8F94-90F97EA9412C}" srcOrd="0" destOrd="0" presId="urn:microsoft.com/office/officeart/2016/7/layout/RepeatingBendingProcessNew"/>
    <dgm:cxn modelId="{38420A40-C2B7-4CF7-AAA1-CA71D0BFB5CB}" type="presParOf" srcId="{004167E4-0831-4C8C-AE98-19EC380185D3}" destId="{F445DC15-31BF-4C55-83B9-B0136CC587EE}" srcOrd="0" destOrd="0" presId="urn:microsoft.com/office/officeart/2016/7/layout/RepeatingBendingProcessNew"/>
    <dgm:cxn modelId="{A763C4E7-DD32-4C44-86C6-331882F2A5D9}" type="presParOf" srcId="{004167E4-0831-4C8C-AE98-19EC380185D3}" destId="{AC72A67E-F027-4D72-87B6-23EB78A0DEFE}" srcOrd="1" destOrd="0" presId="urn:microsoft.com/office/officeart/2016/7/layout/RepeatingBendingProcessNew"/>
    <dgm:cxn modelId="{FAE51C13-4A76-4BA1-8A7B-840A92563AC3}" type="presParOf" srcId="{AC72A67E-F027-4D72-87B6-23EB78A0DEFE}" destId="{8CE8474C-9912-44F9-86B8-A04BA38DDEEE}" srcOrd="0" destOrd="0" presId="urn:microsoft.com/office/officeart/2016/7/layout/RepeatingBendingProcessNew"/>
    <dgm:cxn modelId="{A04D09A4-6E91-4EDA-86CD-F06C2FFEF9E2}" type="presParOf" srcId="{004167E4-0831-4C8C-AE98-19EC380185D3}" destId="{EB354E04-058A-4AA4-85A8-7C138C55625A}" srcOrd="2" destOrd="0" presId="urn:microsoft.com/office/officeart/2016/7/layout/RepeatingBendingProcessNew"/>
    <dgm:cxn modelId="{0323038D-2D2D-498B-A92B-27714682FAA9}" type="presParOf" srcId="{004167E4-0831-4C8C-AE98-19EC380185D3}" destId="{2EFF4D28-6C6A-4B85-83C6-9CD2C53A2423}" srcOrd="3" destOrd="0" presId="urn:microsoft.com/office/officeart/2016/7/layout/RepeatingBendingProcessNew"/>
    <dgm:cxn modelId="{E4F12C23-AE1E-42D5-B064-6916ED04BF29}" type="presParOf" srcId="{2EFF4D28-6C6A-4B85-83C6-9CD2C53A2423}" destId="{D59B9AE0-C297-490F-A2DF-412ABBFB99F4}" srcOrd="0" destOrd="0" presId="urn:microsoft.com/office/officeart/2016/7/layout/RepeatingBendingProcessNew"/>
    <dgm:cxn modelId="{18E77FDB-A424-416D-9F50-7A377912E4BE}" type="presParOf" srcId="{004167E4-0831-4C8C-AE98-19EC380185D3}" destId="{183043C8-3433-4F21-9078-6ED8653DBAD2}" srcOrd="4" destOrd="0" presId="urn:microsoft.com/office/officeart/2016/7/layout/RepeatingBendingProcessNew"/>
    <dgm:cxn modelId="{140A243B-473E-4DFB-AA27-DB59DD2B7FC4}" type="presParOf" srcId="{004167E4-0831-4C8C-AE98-19EC380185D3}" destId="{9C55E4F5-1522-458D-A6B7-A164F1E08114}" srcOrd="5" destOrd="0" presId="urn:microsoft.com/office/officeart/2016/7/layout/RepeatingBendingProcessNew"/>
    <dgm:cxn modelId="{7AF7AC57-D442-48C6-97CA-B1C74FE09A4C}" type="presParOf" srcId="{9C55E4F5-1522-458D-A6B7-A164F1E08114}" destId="{322F11D8-E7FE-4E86-899E-CA469CD007D1}" srcOrd="0" destOrd="0" presId="urn:microsoft.com/office/officeart/2016/7/layout/RepeatingBendingProcessNew"/>
    <dgm:cxn modelId="{55C7AEB9-4BE6-4733-AD56-9BDA6A864E7C}" type="presParOf" srcId="{004167E4-0831-4C8C-AE98-19EC380185D3}" destId="{DE462207-B980-4D00-8F94-90F97EA9412C}" srcOrd="6" destOrd="0" presId="urn:microsoft.com/office/officeart/2016/7/layout/RepeatingBendingProcessNew"/>
    <dgm:cxn modelId="{6C2D742C-7E29-4751-B54B-8395F477152A}" type="presParOf" srcId="{004167E4-0831-4C8C-AE98-19EC380185D3}" destId="{58EA2DB5-C91A-4AC2-836A-D2FBE795CA26}" srcOrd="7" destOrd="0" presId="urn:microsoft.com/office/officeart/2016/7/layout/RepeatingBendingProcessNew"/>
    <dgm:cxn modelId="{B7DEE43D-77A2-42E1-A830-511C32AFFB9F}" type="presParOf" srcId="{58EA2DB5-C91A-4AC2-836A-D2FBE795CA26}" destId="{FA15D500-943C-43CE-B0B8-08F14802A28A}" srcOrd="0" destOrd="0" presId="urn:microsoft.com/office/officeart/2016/7/layout/RepeatingBendingProcessNew"/>
    <dgm:cxn modelId="{B0464DC8-2BBA-4B66-9915-42D52B8AAB7F}" type="presParOf" srcId="{004167E4-0831-4C8C-AE98-19EC380185D3}" destId="{5FDAE6CF-FDEA-41E3-B115-135907836B45}" srcOrd="8" destOrd="0" presId="urn:microsoft.com/office/officeart/2016/7/layout/RepeatingBendingProcessNew"/>
    <dgm:cxn modelId="{874634C7-DC12-4EFD-8B13-383EFF59B643}" type="presParOf" srcId="{004167E4-0831-4C8C-AE98-19EC380185D3}" destId="{0786F294-3133-4B99-AD7C-C385CF6EA7A7}" srcOrd="9" destOrd="0" presId="urn:microsoft.com/office/officeart/2016/7/layout/RepeatingBendingProcessNew"/>
    <dgm:cxn modelId="{D755796B-A8EC-412E-A76E-F69AD110D737}" type="presParOf" srcId="{0786F294-3133-4B99-AD7C-C385CF6EA7A7}" destId="{8875E442-4C0D-4F62-8B3C-9C8CFEB4ADB1}" srcOrd="0" destOrd="0" presId="urn:microsoft.com/office/officeart/2016/7/layout/RepeatingBendingProcessNew"/>
    <dgm:cxn modelId="{9C2B7D1D-99B5-4D4D-B866-97E07695ED97}" type="presParOf" srcId="{004167E4-0831-4C8C-AE98-19EC380185D3}" destId="{A8EA05AD-E3DC-4F8F-BDF0-1B3252899B3C}"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02012C-6927-4603-B970-66C1203B1A67}" type="doc">
      <dgm:prSet loTypeId="urn:microsoft.com/office/officeart/2016/7/layout/RepeatingBendingProcessNew" loCatId="process" qsTypeId="urn:microsoft.com/office/officeart/2005/8/quickstyle/simple2" qsCatId="simple" csTypeId="urn:microsoft.com/office/officeart/2005/8/colors/accent2_2" csCatId="accent2"/>
      <dgm:spPr/>
      <dgm:t>
        <a:bodyPr/>
        <a:lstStyle/>
        <a:p>
          <a:endParaRPr lang="en-US"/>
        </a:p>
      </dgm:t>
    </dgm:pt>
    <dgm:pt modelId="{0880FAAA-8866-4B4D-B38C-30F65EC55ECC}">
      <dgm:prSet/>
      <dgm:spPr/>
      <dgm:t>
        <a:bodyPr/>
        <a:lstStyle/>
        <a:p>
          <a:r>
            <a:rPr lang="en-US"/>
            <a:t>Go to the Azure Marketplace</a:t>
          </a:r>
        </a:p>
      </dgm:t>
    </dgm:pt>
    <dgm:pt modelId="{6D70A7B7-419B-411D-8D70-7E603B1301E7}" type="parTrans" cxnId="{79E61448-2AB6-4CF8-943C-A23ED954FEB8}">
      <dgm:prSet/>
      <dgm:spPr/>
      <dgm:t>
        <a:bodyPr/>
        <a:lstStyle/>
        <a:p>
          <a:endParaRPr lang="en-US"/>
        </a:p>
      </dgm:t>
    </dgm:pt>
    <dgm:pt modelId="{28CF72FE-B63D-442E-BC98-9E1C0CFC103B}" type="sibTrans" cxnId="{79E61448-2AB6-4CF8-943C-A23ED954FEB8}">
      <dgm:prSet/>
      <dgm:spPr/>
      <dgm:t>
        <a:bodyPr/>
        <a:lstStyle/>
        <a:p>
          <a:endParaRPr lang="en-US"/>
        </a:p>
      </dgm:t>
    </dgm:pt>
    <dgm:pt modelId="{D3F3A093-7BF7-4389-B306-E521FB2252AE}">
      <dgm:prSet/>
      <dgm:spPr/>
      <dgm:t>
        <a:bodyPr/>
        <a:lstStyle/>
        <a:p>
          <a:r>
            <a:rPr lang="en-US"/>
            <a:t>Use the Browse apps to select Security</a:t>
          </a:r>
        </a:p>
      </dgm:t>
    </dgm:pt>
    <dgm:pt modelId="{6BCF5E4E-4D1D-4BB1-A536-DDC1F547180B}" type="parTrans" cxnId="{31506E10-2CAD-4FE1-A4A4-6CE5A84F4669}">
      <dgm:prSet/>
      <dgm:spPr/>
      <dgm:t>
        <a:bodyPr/>
        <a:lstStyle/>
        <a:p>
          <a:endParaRPr lang="en-US"/>
        </a:p>
      </dgm:t>
    </dgm:pt>
    <dgm:pt modelId="{04C2AE66-0506-495F-A194-9B268CBFEDD8}" type="sibTrans" cxnId="{31506E10-2CAD-4FE1-A4A4-6CE5A84F4669}">
      <dgm:prSet/>
      <dgm:spPr/>
      <dgm:t>
        <a:bodyPr/>
        <a:lstStyle/>
        <a:p>
          <a:endParaRPr lang="en-US"/>
        </a:p>
      </dgm:t>
    </dgm:pt>
    <dgm:pt modelId="{B628BE33-A104-47A1-A8A6-10C6382FCC35}">
      <dgm:prSet/>
      <dgm:spPr/>
      <dgm:t>
        <a:bodyPr/>
        <a:lstStyle/>
        <a:p>
          <a:r>
            <a:rPr lang="en-US"/>
            <a:t>Filter the Pricing Model to Pay as You Go</a:t>
          </a:r>
        </a:p>
      </dgm:t>
    </dgm:pt>
    <dgm:pt modelId="{6AE88D49-DB9B-4F5E-9D8C-D981A76C8486}" type="parTrans" cxnId="{654A35A8-13B1-4480-847E-82F82DA4877F}">
      <dgm:prSet/>
      <dgm:spPr/>
      <dgm:t>
        <a:bodyPr/>
        <a:lstStyle/>
        <a:p>
          <a:endParaRPr lang="en-US"/>
        </a:p>
      </dgm:t>
    </dgm:pt>
    <dgm:pt modelId="{A92A7F91-5BF2-4932-A7CF-D5CDD4CA713F}" type="sibTrans" cxnId="{654A35A8-13B1-4480-847E-82F82DA4877F}">
      <dgm:prSet/>
      <dgm:spPr/>
      <dgm:t>
        <a:bodyPr/>
        <a:lstStyle/>
        <a:p>
          <a:endParaRPr lang="en-US"/>
        </a:p>
      </dgm:t>
    </dgm:pt>
    <dgm:pt modelId="{8E5033CD-7383-4C60-A156-B88AD2580DD4}">
      <dgm:prSet/>
      <dgm:spPr/>
      <dgm:t>
        <a:bodyPr/>
        <a:lstStyle/>
        <a:p>
          <a:r>
            <a:rPr lang="en-US"/>
            <a:t>Find an app</a:t>
          </a:r>
        </a:p>
      </dgm:t>
    </dgm:pt>
    <dgm:pt modelId="{A0053A81-9FE4-4257-A7D7-1EB982722F90}" type="parTrans" cxnId="{D1FD8863-7BB3-406D-B629-A17CD7BE390C}">
      <dgm:prSet/>
      <dgm:spPr/>
      <dgm:t>
        <a:bodyPr/>
        <a:lstStyle/>
        <a:p>
          <a:endParaRPr lang="en-US"/>
        </a:p>
      </dgm:t>
    </dgm:pt>
    <dgm:pt modelId="{E831D9C8-C51B-48EC-A8F7-8114C1DF8ED7}" type="sibTrans" cxnId="{D1FD8863-7BB3-406D-B629-A17CD7BE390C}">
      <dgm:prSet/>
      <dgm:spPr/>
      <dgm:t>
        <a:bodyPr/>
        <a:lstStyle/>
        <a:p>
          <a:endParaRPr lang="en-US"/>
        </a:p>
      </dgm:t>
    </dgm:pt>
    <dgm:pt modelId="{468068F7-3291-4ECF-B370-2876FE6030E3}">
      <dgm:prSet/>
      <dgm:spPr/>
      <dgm:t>
        <a:bodyPr/>
        <a:lstStyle/>
        <a:p>
          <a:r>
            <a:rPr lang="en-US"/>
            <a:t>Mark it as a favorite</a:t>
          </a:r>
        </a:p>
      </dgm:t>
    </dgm:pt>
    <dgm:pt modelId="{30BF6699-0275-4761-8772-C864BCCBAB0B}" type="parTrans" cxnId="{30FBFA98-A27F-4D1F-B73C-6BFA2266CE24}">
      <dgm:prSet/>
      <dgm:spPr/>
      <dgm:t>
        <a:bodyPr/>
        <a:lstStyle/>
        <a:p>
          <a:endParaRPr lang="en-US"/>
        </a:p>
      </dgm:t>
    </dgm:pt>
    <dgm:pt modelId="{66794B9B-F72D-40F8-9F90-AF9A60DF9C1E}" type="sibTrans" cxnId="{30FBFA98-A27F-4D1F-B73C-6BFA2266CE24}">
      <dgm:prSet/>
      <dgm:spPr/>
      <dgm:t>
        <a:bodyPr/>
        <a:lstStyle/>
        <a:p>
          <a:endParaRPr lang="en-US"/>
        </a:p>
      </dgm:t>
    </dgm:pt>
    <dgm:pt modelId="{32682DAE-0832-4179-ABC1-FB1C8F7DDDF1}" type="pres">
      <dgm:prSet presAssocID="{5602012C-6927-4603-B970-66C1203B1A67}" presName="Name0" presStyleCnt="0">
        <dgm:presLayoutVars>
          <dgm:dir/>
          <dgm:resizeHandles val="exact"/>
        </dgm:presLayoutVars>
      </dgm:prSet>
      <dgm:spPr/>
    </dgm:pt>
    <dgm:pt modelId="{0390AEC8-994B-4FEA-B749-B4F6AEA6448F}" type="pres">
      <dgm:prSet presAssocID="{0880FAAA-8866-4B4D-B38C-30F65EC55ECC}" presName="node" presStyleLbl="node1" presStyleIdx="0" presStyleCnt="5">
        <dgm:presLayoutVars>
          <dgm:bulletEnabled val="1"/>
        </dgm:presLayoutVars>
      </dgm:prSet>
      <dgm:spPr/>
    </dgm:pt>
    <dgm:pt modelId="{C8B63662-A64F-4742-80BD-13B2EE6EE59A}" type="pres">
      <dgm:prSet presAssocID="{28CF72FE-B63D-442E-BC98-9E1C0CFC103B}" presName="sibTrans" presStyleLbl="sibTrans1D1" presStyleIdx="0" presStyleCnt="4"/>
      <dgm:spPr/>
    </dgm:pt>
    <dgm:pt modelId="{D2944B5E-936F-48EE-83EE-65813201D200}" type="pres">
      <dgm:prSet presAssocID="{28CF72FE-B63D-442E-BC98-9E1C0CFC103B}" presName="connectorText" presStyleLbl="sibTrans1D1" presStyleIdx="0" presStyleCnt="4"/>
      <dgm:spPr/>
    </dgm:pt>
    <dgm:pt modelId="{806819AA-FDB8-4EA3-B78D-CF20A4554C35}" type="pres">
      <dgm:prSet presAssocID="{D3F3A093-7BF7-4389-B306-E521FB2252AE}" presName="node" presStyleLbl="node1" presStyleIdx="1" presStyleCnt="5">
        <dgm:presLayoutVars>
          <dgm:bulletEnabled val="1"/>
        </dgm:presLayoutVars>
      </dgm:prSet>
      <dgm:spPr/>
    </dgm:pt>
    <dgm:pt modelId="{24ECAFEB-5CEC-4490-8822-77B62561BCA5}" type="pres">
      <dgm:prSet presAssocID="{04C2AE66-0506-495F-A194-9B268CBFEDD8}" presName="sibTrans" presStyleLbl="sibTrans1D1" presStyleIdx="1" presStyleCnt="4"/>
      <dgm:spPr/>
    </dgm:pt>
    <dgm:pt modelId="{61395805-6E91-4151-A76A-D2AB394888AB}" type="pres">
      <dgm:prSet presAssocID="{04C2AE66-0506-495F-A194-9B268CBFEDD8}" presName="connectorText" presStyleLbl="sibTrans1D1" presStyleIdx="1" presStyleCnt="4"/>
      <dgm:spPr/>
    </dgm:pt>
    <dgm:pt modelId="{CDFD5395-0CD3-43F5-A883-A3B288C2CF18}" type="pres">
      <dgm:prSet presAssocID="{B628BE33-A104-47A1-A8A6-10C6382FCC35}" presName="node" presStyleLbl="node1" presStyleIdx="2" presStyleCnt="5">
        <dgm:presLayoutVars>
          <dgm:bulletEnabled val="1"/>
        </dgm:presLayoutVars>
      </dgm:prSet>
      <dgm:spPr/>
    </dgm:pt>
    <dgm:pt modelId="{D76321F7-E2E7-4843-812A-6D47076374BF}" type="pres">
      <dgm:prSet presAssocID="{A92A7F91-5BF2-4932-A7CF-D5CDD4CA713F}" presName="sibTrans" presStyleLbl="sibTrans1D1" presStyleIdx="2" presStyleCnt="4"/>
      <dgm:spPr/>
    </dgm:pt>
    <dgm:pt modelId="{CDA6D0C4-300C-41AC-A813-1FF7CAEB278E}" type="pres">
      <dgm:prSet presAssocID="{A92A7F91-5BF2-4932-A7CF-D5CDD4CA713F}" presName="connectorText" presStyleLbl="sibTrans1D1" presStyleIdx="2" presStyleCnt="4"/>
      <dgm:spPr/>
    </dgm:pt>
    <dgm:pt modelId="{74A0A6FC-EE98-497B-8DFA-D675F5B6EC71}" type="pres">
      <dgm:prSet presAssocID="{8E5033CD-7383-4C60-A156-B88AD2580DD4}" presName="node" presStyleLbl="node1" presStyleIdx="3" presStyleCnt="5">
        <dgm:presLayoutVars>
          <dgm:bulletEnabled val="1"/>
        </dgm:presLayoutVars>
      </dgm:prSet>
      <dgm:spPr/>
    </dgm:pt>
    <dgm:pt modelId="{38EF6879-DAD1-4755-95CA-EF2AAD9E7166}" type="pres">
      <dgm:prSet presAssocID="{E831D9C8-C51B-48EC-A8F7-8114C1DF8ED7}" presName="sibTrans" presStyleLbl="sibTrans1D1" presStyleIdx="3" presStyleCnt="4"/>
      <dgm:spPr/>
    </dgm:pt>
    <dgm:pt modelId="{94303937-7C81-40C4-9973-7C1263D3B79F}" type="pres">
      <dgm:prSet presAssocID="{E831D9C8-C51B-48EC-A8F7-8114C1DF8ED7}" presName="connectorText" presStyleLbl="sibTrans1D1" presStyleIdx="3" presStyleCnt="4"/>
      <dgm:spPr/>
    </dgm:pt>
    <dgm:pt modelId="{B106E791-7769-43ED-8163-E2828C07A89A}" type="pres">
      <dgm:prSet presAssocID="{468068F7-3291-4ECF-B370-2876FE6030E3}" presName="node" presStyleLbl="node1" presStyleIdx="4" presStyleCnt="5">
        <dgm:presLayoutVars>
          <dgm:bulletEnabled val="1"/>
        </dgm:presLayoutVars>
      </dgm:prSet>
      <dgm:spPr/>
    </dgm:pt>
  </dgm:ptLst>
  <dgm:cxnLst>
    <dgm:cxn modelId="{31506E10-2CAD-4FE1-A4A4-6CE5A84F4669}" srcId="{5602012C-6927-4603-B970-66C1203B1A67}" destId="{D3F3A093-7BF7-4389-B306-E521FB2252AE}" srcOrd="1" destOrd="0" parTransId="{6BCF5E4E-4D1D-4BB1-A536-DDC1F547180B}" sibTransId="{04C2AE66-0506-495F-A194-9B268CBFEDD8}"/>
    <dgm:cxn modelId="{EC609E20-96C6-42B6-B850-28BAB0A72D91}" type="presOf" srcId="{0880FAAA-8866-4B4D-B38C-30F65EC55ECC}" destId="{0390AEC8-994B-4FEA-B749-B4F6AEA6448F}" srcOrd="0" destOrd="0" presId="urn:microsoft.com/office/officeart/2016/7/layout/RepeatingBendingProcessNew"/>
    <dgm:cxn modelId="{7767B128-7D31-4BCB-B99C-D16AE2D65419}" type="presOf" srcId="{A92A7F91-5BF2-4932-A7CF-D5CDD4CA713F}" destId="{D76321F7-E2E7-4843-812A-6D47076374BF}" srcOrd="0" destOrd="0" presId="urn:microsoft.com/office/officeart/2016/7/layout/RepeatingBendingProcessNew"/>
    <dgm:cxn modelId="{D1FD8863-7BB3-406D-B629-A17CD7BE390C}" srcId="{5602012C-6927-4603-B970-66C1203B1A67}" destId="{8E5033CD-7383-4C60-A156-B88AD2580DD4}" srcOrd="3" destOrd="0" parTransId="{A0053A81-9FE4-4257-A7D7-1EB982722F90}" sibTransId="{E831D9C8-C51B-48EC-A8F7-8114C1DF8ED7}"/>
    <dgm:cxn modelId="{88749266-3A81-4C9D-980F-DA1EF2397CAA}" type="presOf" srcId="{04C2AE66-0506-495F-A194-9B268CBFEDD8}" destId="{24ECAFEB-5CEC-4490-8822-77B62561BCA5}" srcOrd="0" destOrd="0" presId="urn:microsoft.com/office/officeart/2016/7/layout/RepeatingBendingProcessNew"/>
    <dgm:cxn modelId="{79E61448-2AB6-4CF8-943C-A23ED954FEB8}" srcId="{5602012C-6927-4603-B970-66C1203B1A67}" destId="{0880FAAA-8866-4B4D-B38C-30F65EC55ECC}" srcOrd="0" destOrd="0" parTransId="{6D70A7B7-419B-411D-8D70-7E603B1301E7}" sibTransId="{28CF72FE-B63D-442E-BC98-9E1C0CFC103B}"/>
    <dgm:cxn modelId="{6167445A-76BB-4170-ADDF-B8C440D49680}" type="presOf" srcId="{28CF72FE-B63D-442E-BC98-9E1C0CFC103B}" destId="{D2944B5E-936F-48EE-83EE-65813201D200}" srcOrd="1" destOrd="0" presId="urn:microsoft.com/office/officeart/2016/7/layout/RepeatingBendingProcessNew"/>
    <dgm:cxn modelId="{2C730586-700C-4FB6-9732-5E468E73F0D5}" type="presOf" srcId="{5602012C-6927-4603-B970-66C1203B1A67}" destId="{32682DAE-0832-4179-ABC1-FB1C8F7DDDF1}" srcOrd="0" destOrd="0" presId="urn:microsoft.com/office/officeart/2016/7/layout/RepeatingBendingProcessNew"/>
    <dgm:cxn modelId="{30FBFA98-A27F-4D1F-B73C-6BFA2266CE24}" srcId="{5602012C-6927-4603-B970-66C1203B1A67}" destId="{468068F7-3291-4ECF-B370-2876FE6030E3}" srcOrd="4" destOrd="0" parTransId="{30BF6699-0275-4761-8772-C864BCCBAB0B}" sibTransId="{66794B9B-F72D-40F8-9F90-AF9A60DF9C1E}"/>
    <dgm:cxn modelId="{A2C629A2-A474-4CFE-808A-4B761236AC57}" type="presOf" srcId="{D3F3A093-7BF7-4389-B306-E521FB2252AE}" destId="{806819AA-FDB8-4EA3-B78D-CF20A4554C35}" srcOrd="0" destOrd="0" presId="urn:microsoft.com/office/officeart/2016/7/layout/RepeatingBendingProcessNew"/>
    <dgm:cxn modelId="{372E64A4-E3BE-4BB3-930D-06988DF7BAE5}" type="presOf" srcId="{468068F7-3291-4ECF-B370-2876FE6030E3}" destId="{B106E791-7769-43ED-8163-E2828C07A89A}" srcOrd="0" destOrd="0" presId="urn:microsoft.com/office/officeart/2016/7/layout/RepeatingBendingProcessNew"/>
    <dgm:cxn modelId="{654A35A8-13B1-4480-847E-82F82DA4877F}" srcId="{5602012C-6927-4603-B970-66C1203B1A67}" destId="{B628BE33-A104-47A1-A8A6-10C6382FCC35}" srcOrd="2" destOrd="0" parTransId="{6AE88D49-DB9B-4F5E-9D8C-D981A76C8486}" sibTransId="{A92A7F91-5BF2-4932-A7CF-D5CDD4CA713F}"/>
    <dgm:cxn modelId="{CF6E9DAB-F7BA-4C7F-ACA3-3CDE7167F63F}" type="presOf" srcId="{8E5033CD-7383-4C60-A156-B88AD2580DD4}" destId="{74A0A6FC-EE98-497B-8DFA-D675F5B6EC71}" srcOrd="0" destOrd="0" presId="urn:microsoft.com/office/officeart/2016/7/layout/RepeatingBendingProcessNew"/>
    <dgm:cxn modelId="{313A4ABC-8DA5-4D48-8341-D45729C130E6}" type="presOf" srcId="{B628BE33-A104-47A1-A8A6-10C6382FCC35}" destId="{CDFD5395-0CD3-43F5-A883-A3B288C2CF18}" srcOrd="0" destOrd="0" presId="urn:microsoft.com/office/officeart/2016/7/layout/RepeatingBendingProcessNew"/>
    <dgm:cxn modelId="{315B50BF-7531-4441-9311-09B9953E7C1C}" type="presOf" srcId="{E831D9C8-C51B-48EC-A8F7-8114C1DF8ED7}" destId="{94303937-7C81-40C4-9973-7C1263D3B79F}" srcOrd="1" destOrd="0" presId="urn:microsoft.com/office/officeart/2016/7/layout/RepeatingBendingProcessNew"/>
    <dgm:cxn modelId="{11EAA8CD-C333-4938-B57D-1F55B9895FB8}" type="presOf" srcId="{A92A7F91-5BF2-4932-A7CF-D5CDD4CA713F}" destId="{CDA6D0C4-300C-41AC-A813-1FF7CAEB278E}" srcOrd="1" destOrd="0" presId="urn:microsoft.com/office/officeart/2016/7/layout/RepeatingBendingProcessNew"/>
    <dgm:cxn modelId="{2F25F8DE-3679-4A73-BA12-5934B950FA2F}" type="presOf" srcId="{28CF72FE-B63D-442E-BC98-9E1C0CFC103B}" destId="{C8B63662-A64F-4742-80BD-13B2EE6EE59A}" srcOrd="0" destOrd="0" presId="urn:microsoft.com/office/officeart/2016/7/layout/RepeatingBendingProcessNew"/>
    <dgm:cxn modelId="{78C9D5F4-F64C-438F-B7EB-056B964C8428}" type="presOf" srcId="{E831D9C8-C51B-48EC-A8F7-8114C1DF8ED7}" destId="{38EF6879-DAD1-4755-95CA-EF2AAD9E7166}" srcOrd="0" destOrd="0" presId="urn:microsoft.com/office/officeart/2016/7/layout/RepeatingBendingProcessNew"/>
    <dgm:cxn modelId="{1407D8FE-43E9-49FB-A8C5-385CDEC745E1}" type="presOf" srcId="{04C2AE66-0506-495F-A194-9B268CBFEDD8}" destId="{61395805-6E91-4151-A76A-D2AB394888AB}" srcOrd="1" destOrd="0" presId="urn:microsoft.com/office/officeart/2016/7/layout/RepeatingBendingProcessNew"/>
    <dgm:cxn modelId="{2DE89A84-8D6D-41A7-91B7-B6222E4ECD59}" type="presParOf" srcId="{32682DAE-0832-4179-ABC1-FB1C8F7DDDF1}" destId="{0390AEC8-994B-4FEA-B749-B4F6AEA6448F}" srcOrd="0" destOrd="0" presId="urn:microsoft.com/office/officeart/2016/7/layout/RepeatingBendingProcessNew"/>
    <dgm:cxn modelId="{26DEC8B3-90AF-4EAA-B21C-00F9F61F4BF0}" type="presParOf" srcId="{32682DAE-0832-4179-ABC1-FB1C8F7DDDF1}" destId="{C8B63662-A64F-4742-80BD-13B2EE6EE59A}" srcOrd="1" destOrd="0" presId="urn:microsoft.com/office/officeart/2016/7/layout/RepeatingBendingProcessNew"/>
    <dgm:cxn modelId="{20DE9697-3FC2-47EB-BBD8-08A6BC90A5E1}" type="presParOf" srcId="{C8B63662-A64F-4742-80BD-13B2EE6EE59A}" destId="{D2944B5E-936F-48EE-83EE-65813201D200}" srcOrd="0" destOrd="0" presId="urn:microsoft.com/office/officeart/2016/7/layout/RepeatingBendingProcessNew"/>
    <dgm:cxn modelId="{972EA84E-B82E-43E1-95FD-D3E061BF5E67}" type="presParOf" srcId="{32682DAE-0832-4179-ABC1-FB1C8F7DDDF1}" destId="{806819AA-FDB8-4EA3-B78D-CF20A4554C35}" srcOrd="2" destOrd="0" presId="urn:microsoft.com/office/officeart/2016/7/layout/RepeatingBendingProcessNew"/>
    <dgm:cxn modelId="{9D8F133A-1B12-4D04-BE5A-CF4B3B13950B}" type="presParOf" srcId="{32682DAE-0832-4179-ABC1-FB1C8F7DDDF1}" destId="{24ECAFEB-5CEC-4490-8822-77B62561BCA5}" srcOrd="3" destOrd="0" presId="urn:microsoft.com/office/officeart/2016/7/layout/RepeatingBendingProcessNew"/>
    <dgm:cxn modelId="{1B3CDFC3-0B65-4C37-BB56-361A4CC19C8A}" type="presParOf" srcId="{24ECAFEB-5CEC-4490-8822-77B62561BCA5}" destId="{61395805-6E91-4151-A76A-D2AB394888AB}" srcOrd="0" destOrd="0" presId="urn:microsoft.com/office/officeart/2016/7/layout/RepeatingBendingProcessNew"/>
    <dgm:cxn modelId="{4EAD9ECD-D445-41CE-AFEF-AF1668C1FA3D}" type="presParOf" srcId="{32682DAE-0832-4179-ABC1-FB1C8F7DDDF1}" destId="{CDFD5395-0CD3-43F5-A883-A3B288C2CF18}" srcOrd="4" destOrd="0" presId="urn:microsoft.com/office/officeart/2016/7/layout/RepeatingBendingProcessNew"/>
    <dgm:cxn modelId="{C36A0F9D-E813-4599-A2F0-960C00A49364}" type="presParOf" srcId="{32682DAE-0832-4179-ABC1-FB1C8F7DDDF1}" destId="{D76321F7-E2E7-4843-812A-6D47076374BF}" srcOrd="5" destOrd="0" presId="urn:microsoft.com/office/officeart/2016/7/layout/RepeatingBendingProcessNew"/>
    <dgm:cxn modelId="{F92AF4A9-F91F-4D43-8C7C-12D0196AE9FF}" type="presParOf" srcId="{D76321F7-E2E7-4843-812A-6D47076374BF}" destId="{CDA6D0C4-300C-41AC-A813-1FF7CAEB278E}" srcOrd="0" destOrd="0" presId="urn:microsoft.com/office/officeart/2016/7/layout/RepeatingBendingProcessNew"/>
    <dgm:cxn modelId="{E0EBE6ED-ACF0-4012-9DAF-0043043214AE}" type="presParOf" srcId="{32682DAE-0832-4179-ABC1-FB1C8F7DDDF1}" destId="{74A0A6FC-EE98-497B-8DFA-D675F5B6EC71}" srcOrd="6" destOrd="0" presId="urn:microsoft.com/office/officeart/2016/7/layout/RepeatingBendingProcessNew"/>
    <dgm:cxn modelId="{403C20B2-6DB7-4655-8E1B-C40C8C465901}" type="presParOf" srcId="{32682DAE-0832-4179-ABC1-FB1C8F7DDDF1}" destId="{38EF6879-DAD1-4755-95CA-EF2AAD9E7166}" srcOrd="7" destOrd="0" presId="urn:microsoft.com/office/officeart/2016/7/layout/RepeatingBendingProcessNew"/>
    <dgm:cxn modelId="{3BAC823A-C0DE-4371-A885-71EE715D7518}" type="presParOf" srcId="{38EF6879-DAD1-4755-95CA-EF2AAD9E7166}" destId="{94303937-7C81-40C4-9973-7C1263D3B79F}" srcOrd="0" destOrd="0" presId="urn:microsoft.com/office/officeart/2016/7/layout/RepeatingBendingProcessNew"/>
    <dgm:cxn modelId="{6E7C6DB0-0E55-4286-B109-C3B63121073A}" type="presParOf" srcId="{32682DAE-0832-4179-ABC1-FB1C8F7DDDF1}" destId="{B106E791-7769-43ED-8163-E2828C07A89A}" srcOrd="8"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7D742D4-8899-4302-B12B-31E818166DD9}" type="doc">
      <dgm:prSet loTypeId="urn:microsoft.com/office/officeart/2016/7/layout/RepeatingBendingProcessNew" loCatId="process" qsTypeId="urn:microsoft.com/office/officeart/2005/8/quickstyle/simple4" qsCatId="simple" csTypeId="urn:microsoft.com/office/officeart/2005/8/colors/accent3_2" csCatId="accent3"/>
      <dgm:spPr/>
      <dgm:t>
        <a:bodyPr/>
        <a:lstStyle/>
        <a:p>
          <a:endParaRPr lang="en-US"/>
        </a:p>
      </dgm:t>
    </dgm:pt>
    <dgm:pt modelId="{AFAD1D2C-C1CD-41AA-84C0-711DC114A24B}">
      <dgm:prSet/>
      <dgm:spPr/>
      <dgm:t>
        <a:bodyPr/>
        <a:lstStyle/>
        <a:p>
          <a:r>
            <a:rPr lang="en-US"/>
            <a:t>Go to the Azure Marketplace</a:t>
          </a:r>
        </a:p>
      </dgm:t>
    </dgm:pt>
    <dgm:pt modelId="{35C1C187-9DA3-4357-ACE6-4985088CA5B0}" type="parTrans" cxnId="{7CF3279B-216F-422B-8FF6-79D070607C79}">
      <dgm:prSet/>
      <dgm:spPr/>
      <dgm:t>
        <a:bodyPr/>
        <a:lstStyle/>
        <a:p>
          <a:endParaRPr lang="en-US"/>
        </a:p>
      </dgm:t>
    </dgm:pt>
    <dgm:pt modelId="{5F73C7D2-AA83-4D7F-8E9F-8DEEB977026F}" type="sibTrans" cxnId="{7CF3279B-216F-422B-8FF6-79D070607C79}">
      <dgm:prSet phldrT="1" phldr="0"/>
      <dgm:spPr/>
      <dgm:t>
        <a:bodyPr/>
        <a:lstStyle/>
        <a:p>
          <a:r>
            <a:rPr lang="en-US"/>
            <a:t>1</a:t>
          </a:r>
        </a:p>
      </dgm:t>
    </dgm:pt>
    <dgm:pt modelId="{7A9A3C21-34FD-4BEB-9222-113BE94BD02C}">
      <dgm:prSet/>
      <dgm:spPr/>
      <dgm:t>
        <a:bodyPr/>
        <a:lstStyle/>
        <a:p>
          <a:r>
            <a:rPr lang="en-US"/>
            <a:t>Use the Browse apps to select Security</a:t>
          </a:r>
        </a:p>
      </dgm:t>
    </dgm:pt>
    <dgm:pt modelId="{6678E9FB-C082-48CC-997C-700D2E12E7E3}" type="parTrans" cxnId="{0EDF65EA-BA9B-40A4-AFFF-CB7EEE9FDFD6}">
      <dgm:prSet/>
      <dgm:spPr/>
      <dgm:t>
        <a:bodyPr/>
        <a:lstStyle/>
        <a:p>
          <a:endParaRPr lang="en-US"/>
        </a:p>
      </dgm:t>
    </dgm:pt>
    <dgm:pt modelId="{7CC981D7-7576-4E64-B9B1-BE0E42D619B3}" type="sibTrans" cxnId="{0EDF65EA-BA9B-40A4-AFFF-CB7EEE9FDFD6}">
      <dgm:prSet phldrT="2" phldr="0"/>
      <dgm:spPr/>
      <dgm:t>
        <a:bodyPr/>
        <a:lstStyle/>
        <a:p>
          <a:r>
            <a:rPr lang="en-US"/>
            <a:t>2</a:t>
          </a:r>
        </a:p>
      </dgm:t>
    </dgm:pt>
    <dgm:pt modelId="{05B24310-5EB2-4D48-9D11-D32F8773ECA9}">
      <dgm:prSet/>
      <dgm:spPr/>
      <dgm:t>
        <a:bodyPr/>
        <a:lstStyle/>
        <a:p>
          <a:r>
            <a:rPr lang="en-US"/>
            <a:t>Filter the Service Types to Assessment</a:t>
          </a:r>
        </a:p>
      </dgm:t>
    </dgm:pt>
    <dgm:pt modelId="{3CC7A903-0B4B-4C72-9C8D-25E3B20F068A}" type="parTrans" cxnId="{0831242F-BC6D-4680-AF6B-CAF5BC5E3105}">
      <dgm:prSet/>
      <dgm:spPr/>
      <dgm:t>
        <a:bodyPr/>
        <a:lstStyle/>
        <a:p>
          <a:endParaRPr lang="en-US"/>
        </a:p>
      </dgm:t>
    </dgm:pt>
    <dgm:pt modelId="{102D13EC-B457-4FDF-85B8-8FD9786D6995}" type="sibTrans" cxnId="{0831242F-BC6D-4680-AF6B-CAF5BC5E3105}">
      <dgm:prSet phldrT="3" phldr="0"/>
      <dgm:spPr/>
      <dgm:t>
        <a:bodyPr/>
        <a:lstStyle/>
        <a:p>
          <a:r>
            <a:rPr lang="en-US"/>
            <a:t>3</a:t>
          </a:r>
        </a:p>
      </dgm:t>
    </dgm:pt>
    <dgm:pt modelId="{85EAC69C-C35D-4951-8989-068B478F376C}">
      <dgm:prSet/>
      <dgm:spPr/>
      <dgm:t>
        <a:bodyPr/>
        <a:lstStyle/>
        <a:p>
          <a:r>
            <a:rPr lang="en-US"/>
            <a:t>Filter the Pricing Model to Free</a:t>
          </a:r>
        </a:p>
      </dgm:t>
    </dgm:pt>
    <dgm:pt modelId="{E6E904AE-AE21-4B48-AE48-1D3E95CF43B7}" type="parTrans" cxnId="{06C57716-D743-486B-A380-355B02E3D8FD}">
      <dgm:prSet/>
      <dgm:spPr/>
      <dgm:t>
        <a:bodyPr/>
        <a:lstStyle/>
        <a:p>
          <a:endParaRPr lang="en-US"/>
        </a:p>
      </dgm:t>
    </dgm:pt>
    <dgm:pt modelId="{6AEFF1A4-F07B-4F8C-93C4-1594A4235AC7}" type="sibTrans" cxnId="{06C57716-D743-486B-A380-355B02E3D8FD}">
      <dgm:prSet phldrT="4" phldr="0"/>
      <dgm:spPr/>
      <dgm:t>
        <a:bodyPr/>
        <a:lstStyle/>
        <a:p>
          <a:r>
            <a:rPr lang="en-US"/>
            <a:t>4</a:t>
          </a:r>
        </a:p>
      </dgm:t>
    </dgm:pt>
    <dgm:pt modelId="{EFC9EE0A-5316-4181-ACBC-407E6FF9474D}">
      <dgm:prSet/>
      <dgm:spPr/>
      <dgm:t>
        <a:bodyPr/>
        <a:lstStyle/>
        <a:p>
          <a:r>
            <a:rPr lang="en-US"/>
            <a:t>Find a consulting service</a:t>
          </a:r>
        </a:p>
      </dgm:t>
    </dgm:pt>
    <dgm:pt modelId="{2C924630-25F7-417D-8380-B14A2A34454A}" type="parTrans" cxnId="{099ECECF-5C24-42D5-AF52-9B08260C3EFD}">
      <dgm:prSet/>
      <dgm:spPr/>
      <dgm:t>
        <a:bodyPr/>
        <a:lstStyle/>
        <a:p>
          <a:endParaRPr lang="en-US"/>
        </a:p>
      </dgm:t>
    </dgm:pt>
    <dgm:pt modelId="{27D2D894-0637-4F7A-90FE-2D7F00CB7B5E}" type="sibTrans" cxnId="{099ECECF-5C24-42D5-AF52-9B08260C3EFD}">
      <dgm:prSet phldrT="5" phldr="0"/>
      <dgm:spPr/>
      <dgm:t>
        <a:bodyPr/>
        <a:lstStyle/>
        <a:p>
          <a:r>
            <a:rPr lang="en-US"/>
            <a:t>5</a:t>
          </a:r>
        </a:p>
      </dgm:t>
    </dgm:pt>
    <dgm:pt modelId="{715451EB-2BC4-4C69-8DC6-A9019D71A198}">
      <dgm:prSet/>
      <dgm:spPr/>
      <dgm:t>
        <a:bodyPr/>
        <a:lstStyle/>
        <a:p>
          <a:r>
            <a:rPr lang="en-US"/>
            <a:t>Mark it as a favorite</a:t>
          </a:r>
        </a:p>
      </dgm:t>
    </dgm:pt>
    <dgm:pt modelId="{D6D32BFC-37E8-4668-9F06-B8DDAACE250C}" type="parTrans" cxnId="{65EF7E56-47C6-4193-8ABD-3D0564B88655}">
      <dgm:prSet/>
      <dgm:spPr/>
      <dgm:t>
        <a:bodyPr/>
        <a:lstStyle/>
        <a:p>
          <a:endParaRPr lang="en-US"/>
        </a:p>
      </dgm:t>
    </dgm:pt>
    <dgm:pt modelId="{194854CF-829A-46D6-9B1D-E97CDE62EB01}" type="sibTrans" cxnId="{65EF7E56-47C6-4193-8ABD-3D0564B88655}">
      <dgm:prSet phldrT="6" phldr="0"/>
      <dgm:spPr/>
      <dgm:t>
        <a:bodyPr/>
        <a:lstStyle/>
        <a:p>
          <a:endParaRPr lang="en-US"/>
        </a:p>
      </dgm:t>
    </dgm:pt>
    <dgm:pt modelId="{11B0CD00-B819-416C-8881-CAB71B6E586B}" type="pres">
      <dgm:prSet presAssocID="{C7D742D4-8899-4302-B12B-31E818166DD9}" presName="Name0" presStyleCnt="0">
        <dgm:presLayoutVars>
          <dgm:dir/>
          <dgm:resizeHandles val="exact"/>
        </dgm:presLayoutVars>
      </dgm:prSet>
      <dgm:spPr/>
    </dgm:pt>
    <dgm:pt modelId="{0DD83287-1354-4032-AC79-D31A005BECD9}" type="pres">
      <dgm:prSet presAssocID="{AFAD1D2C-C1CD-41AA-84C0-711DC114A24B}" presName="node" presStyleLbl="node1" presStyleIdx="0" presStyleCnt="6">
        <dgm:presLayoutVars>
          <dgm:bulletEnabled val="1"/>
        </dgm:presLayoutVars>
      </dgm:prSet>
      <dgm:spPr/>
    </dgm:pt>
    <dgm:pt modelId="{EC037EE7-7DAD-401E-A647-BA2223688587}" type="pres">
      <dgm:prSet presAssocID="{5F73C7D2-AA83-4D7F-8E9F-8DEEB977026F}" presName="sibTrans" presStyleLbl="sibTrans1D1" presStyleIdx="0" presStyleCnt="5"/>
      <dgm:spPr/>
    </dgm:pt>
    <dgm:pt modelId="{2ABB078A-6DD2-48D0-8D61-DF78040BA333}" type="pres">
      <dgm:prSet presAssocID="{5F73C7D2-AA83-4D7F-8E9F-8DEEB977026F}" presName="connectorText" presStyleLbl="sibTrans1D1" presStyleIdx="0" presStyleCnt="5"/>
      <dgm:spPr/>
    </dgm:pt>
    <dgm:pt modelId="{D506B59F-90AC-4849-B0F0-D22110039739}" type="pres">
      <dgm:prSet presAssocID="{7A9A3C21-34FD-4BEB-9222-113BE94BD02C}" presName="node" presStyleLbl="node1" presStyleIdx="1" presStyleCnt="6">
        <dgm:presLayoutVars>
          <dgm:bulletEnabled val="1"/>
        </dgm:presLayoutVars>
      </dgm:prSet>
      <dgm:spPr/>
    </dgm:pt>
    <dgm:pt modelId="{760C35F8-5D9D-4415-B97B-6DB55E3450E7}" type="pres">
      <dgm:prSet presAssocID="{7CC981D7-7576-4E64-B9B1-BE0E42D619B3}" presName="sibTrans" presStyleLbl="sibTrans1D1" presStyleIdx="1" presStyleCnt="5"/>
      <dgm:spPr/>
    </dgm:pt>
    <dgm:pt modelId="{5B5E2569-04AC-4D51-BF39-7D4A638FC05B}" type="pres">
      <dgm:prSet presAssocID="{7CC981D7-7576-4E64-B9B1-BE0E42D619B3}" presName="connectorText" presStyleLbl="sibTrans1D1" presStyleIdx="1" presStyleCnt="5"/>
      <dgm:spPr/>
    </dgm:pt>
    <dgm:pt modelId="{1A1D4672-1836-4676-B75F-50F0B9B32C78}" type="pres">
      <dgm:prSet presAssocID="{05B24310-5EB2-4D48-9D11-D32F8773ECA9}" presName="node" presStyleLbl="node1" presStyleIdx="2" presStyleCnt="6">
        <dgm:presLayoutVars>
          <dgm:bulletEnabled val="1"/>
        </dgm:presLayoutVars>
      </dgm:prSet>
      <dgm:spPr/>
    </dgm:pt>
    <dgm:pt modelId="{85CF5366-BFF1-4E36-AE72-16DC499C11E5}" type="pres">
      <dgm:prSet presAssocID="{102D13EC-B457-4FDF-85B8-8FD9786D6995}" presName="sibTrans" presStyleLbl="sibTrans1D1" presStyleIdx="2" presStyleCnt="5"/>
      <dgm:spPr/>
    </dgm:pt>
    <dgm:pt modelId="{0E7C7C8B-9660-4A4C-ACC9-F5A64D541570}" type="pres">
      <dgm:prSet presAssocID="{102D13EC-B457-4FDF-85B8-8FD9786D6995}" presName="connectorText" presStyleLbl="sibTrans1D1" presStyleIdx="2" presStyleCnt="5"/>
      <dgm:spPr/>
    </dgm:pt>
    <dgm:pt modelId="{0AC1AE17-963B-40DB-9338-9942976DD3F0}" type="pres">
      <dgm:prSet presAssocID="{85EAC69C-C35D-4951-8989-068B478F376C}" presName="node" presStyleLbl="node1" presStyleIdx="3" presStyleCnt="6">
        <dgm:presLayoutVars>
          <dgm:bulletEnabled val="1"/>
        </dgm:presLayoutVars>
      </dgm:prSet>
      <dgm:spPr/>
    </dgm:pt>
    <dgm:pt modelId="{88581CB4-3B0A-4B05-83E3-A1BE183169CF}" type="pres">
      <dgm:prSet presAssocID="{6AEFF1A4-F07B-4F8C-93C4-1594A4235AC7}" presName="sibTrans" presStyleLbl="sibTrans1D1" presStyleIdx="3" presStyleCnt="5"/>
      <dgm:spPr/>
    </dgm:pt>
    <dgm:pt modelId="{FD30ABB2-9E7E-4CE6-AF67-3BA991F53369}" type="pres">
      <dgm:prSet presAssocID="{6AEFF1A4-F07B-4F8C-93C4-1594A4235AC7}" presName="connectorText" presStyleLbl="sibTrans1D1" presStyleIdx="3" presStyleCnt="5"/>
      <dgm:spPr/>
    </dgm:pt>
    <dgm:pt modelId="{134C389A-8072-43E0-BD43-C6E317D29A1A}" type="pres">
      <dgm:prSet presAssocID="{EFC9EE0A-5316-4181-ACBC-407E6FF9474D}" presName="node" presStyleLbl="node1" presStyleIdx="4" presStyleCnt="6">
        <dgm:presLayoutVars>
          <dgm:bulletEnabled val="1"/>
        </dgm:presLayoutVars>
      </dgm:prSet>
      <dgm:spPr/>
    </dgm:pt>
    <dgm:pt modelId="{3A54A1EE-0C57-41B4-9ADC-C018D8D71E58}" type="pres">
      <dgm:prSet presAssocID="{27D2D894-0637-4F7A-90FE-2D7F00CB7B5E}" presName="sibTrans" presStyleLbl="sibTrans1D1" presStyleIdx="4" presStyleCnt="5"/>
      <dgm:spPr/>
    </dgm:pt>
    <dgm:pt modelId="{F905EF13-458A-47AE-8719-FEA321EFB013}" type="pres">
      <dgm:prSet presAssocID="{27D2D894-0637-4F7A-90FE-2D7F00CB7B5E}" presName="connectorText" presStyleLbl="sibTrans1D1" presStyleIdx="4" presStyleCnt="5"/>
      <dgm:spPr/>
    </dgm:pt>
    <dgm:pt modelId="{E600DE75-2E7F-43D8-9A3A-233094BE11A1}" type="pres">
      <dgm:prSet presAssocID="{715451EB-2BC4-4C69-8DC6-A9019D71A198}" presName="node" presStyleLbl="node1" presStyleIdx="5" presStyleCnt="6">
        <dgm:presLayoutVars>
          <dgm:bulletEnabled val="1"/>
        </dgm:presLayoutVars>
      </dgm:prSet>
      <dgm:spPr/>
    </dgm:pt>
  </dgm:ptLst>
  <dgm:cxnLst>
    <dgm:cxn modelId="{06C57716-D743-486B-A380-355B02E3D8FD}" srcId="{C7D742D4-8899-4302-B12B-31E818166DD9}" destId="{85EAC69C-C35D-4951-8989-068B478F376C}" srcOrd="3" destOrd="0" parTransId="{E6E904AE-AE21-4B48-AE48-1D3E95CF43B7}" sibTransId="{6AEFF1A4-F07B-4F8C-93C4-1594A4235AC7}"/>
    <dgm:cxn modelId="{7892E217-80B1-43E5-9F03-A85ABF6A181D}" type="presOf" srcId="{7A9A3C21-34FD-4BEB-9222-113BE94BD02C}" destId="{D506B59F-90AC-4849-B0F0-D22110039739}" srcOrd="0" destOrd="0" presId="urn:microsoft.com/office/officeart/2016/7/layout/RepeatingBendingProcessNew"/>
    <dgm:cxn modelId="{2F1F1123-BFDA-48D5-A893-A71E42272FE3}" type="presOf" srcId="{05B24310-5EB2-4D48-9D11-D32F8773ECA9}" destId="{1A1D4672-1836-4676-B75F-50F0B9B32C78}" srcOrd="0" destOrd="0" presId="urn:microsoft.com/office/officeart/2016/7/layout/RepeatingBendingProcessNew"/>
    <dgm:cxn modelId="{6B29EF26-A942-4E20-A53E-C8C6FCF8EF0A}" type="presOf" srcId="{85EAC69C-C35D-4951-8989-068B478F376C}" destId="{0AC1AE17-963B-40DB-9338-9942976DD3F0}" srcOrd="0" destOrd="0" presId="urn:microsoft.com/office/officeart/2016/7/layout/RepeatingBendingProcessNew"/>
    <dgm:cxn modelId="{88E05E2D-63DB-46C3-ADF5-2669C20B4FB9}" type="presOf" srcId="{5F73C7D2-AA83-4D7F-8E9F-8DEEB977026F}" destId="{EC037EE7-7DAD-401E-A647-BA2223688587}" srcOrd="0" destOrd="0" presId="urn:microsoft.com/office/officeart/2016/7/layout/RepeatingBendingProcessNew"/>
    <dgm:cxn modelId="{B1D70A2E-CFC9-47FF-B779-B7978AE7F066}" type="presOf" srcId="{5F73C7D2-AA83-4D7F-8E9F-8DEEB977026F}" destId="{2ABB078A-6DD2-48D0-8D61-DF78040BA333}" srcOrd="1" destOrd="0" presId="urn:microsoft.com/office/officeart/2016/7/layout/RepeatingBendingProcessNew"/>
    <dgm:cxn modelId="{0831242F-BC6D-4680-AF6B-CAF5BC5E3105}" srcId="{C7D742D4-8899-4302-B12B-31E818166DD9}" destId="{05B24310-5EB2-4D48-9D11-D32F8773ECA9}" srcOrd="2" destOrd="0" parTransId="{3CC7A903-0B4B-4C72-9C8D-25E3B20F068A}" sibTransId="{102D13EC-B457-4FDF-85B8-8FD9786D6995}"/>
    <dgm:cxn modelId="{D1FF722F-C06B-4C81-B3E0-AE3FE7CE8AE4}" type="presOf" srcId="{102D13EC-B457-4FDF-85B8-8FD9786D6995}" destId="{0E7C7C8B-9660-4A4C-ACC9-F5A64D541570}" srcOrd="1" destOrd="0" presId="urn:microsoft.com/office/officeart/2016/7/layout/RepeatingBendingProcessNew"/>
    <dgm:cxn modelId="{1B410548-CAA4-477C-86D3-88273F9BDC20}" type="presOf" srcId="{AFAD1D2C-C1CD-41AA-84C0-711DC114A24B}" destId="{0DD83287-1354-4032-AC79-D31A005BECD9}" srcOrd="0" destOrd="0" presId="urn:microsoft.com/office/officeart/2016/7/layout/RepeatingBendingProcessNew"/>
    <dgm:cxn modelId="{BCFF9271-1D20-43A9-B1CA-A4CC53A34062}" type="presOf" srcId="{EFC9EE0A-5316-4181-ACBC-407E6FF9474D}" destId="{134C389A-8072-43E0-BD43-C6E317D29A1A}" srcOrd="0" destOrd="0" presId="urn:microsoft.com/office/officeart/2016/7/layout/RepeatingBendingProcessNew"/>
    <dgm:cxn modelId="{45DDB171-BEFF-4D60-A7B8-FDB9E2BA7BFD}" type="presOf" srcId="{27D2D894-0637-4F7A-90FE-2D7F00CB7B5E}" destId="{F905EF13-458A-47AE-8719-FEA321EFB013}" srcOrd="1" destOrd="0" presId="urn:microsoft.com/office/officeart/2016/7/layout/RepeatingBendingProcessNew"/>
    <dgm:cxn modelId="{65EF7E56-47C6-4193-8ABD-3D0564B88655}" srcId="{C7D742D4-8899-4302-B12B-31E818166DD9}" destId="{715451EB-2BC4-4C69-8DC6-A9019D71A198}" srcOrd="5" destOrd="0" parTransId="{D6D32BFC-37E8-4668-9F06-B8DDAACE250C}" sibTransId="{194854CF-829A-46D6-9B1D-E97CDE62EB01}"/>
    <dgm:cxn modelId="{F811047B-6E08-44DF-9439-561D47D25044}" type="presOf" srcId="{102D13EC-B457-4FDF-85B8-8FD9786D6995}" destId="{85CF5366-BFF1-4E36-AE72-16DC499C11E5}" srcOrd="0" destOrd="0" presId="urn:microsoft.com/office/officeart/2016/7/layout/RepeatingBendingProcessNew"/>
    <dgm:cxn modelId="{25D60D82-1533-4BC3-A820-0C8D66F40D54}" type="presOf" srcId="{7CC981D7-7576-4E64-B9B1-BE0E42D619B3}" destId="{5B5E2569-04AC-4D51-BF39-7D4A638FC05B}" srcOrd="1" destOrd="0" presId="urn:microsoft.com/office/officeart/2016/7/layout/RepeatingBendingProcessNew"/>
    <dgm:cxn modelId="{8EFF528D-72DF-4D84-8F7D-F4769BD40C65}" type="presOf" srcId="{6AEFF1A4-F07B-4F8C-93C4-1594A4235AC7}" destId="{FD30ABB2-9E7E-4CE6-AF67-3BA991F53369}" srcOrd="1" destOrd="0" presId="urn:microsoft.com/office/officeart/2016/7/layout/RepeatingBendingProcessNew"/>
    <dgm:cxn modelId="{06C1A594-A51C-4CA1-A300-CF756EC3F7FA}" type="presOf" srcId="{7CC981D7-7576-4E64-B9B1-BE0E42D619B3}" destId="{760C35F8-5D9D-4415-B97B-6DB55E3450E7}" srcOrd="0" destOrd="0" presId="urn:microsoft.com/office/officeart/2016/7/layout/RepeatingBendingProcessNew"/>
    <dgm:cxn modelId="{7CF3279B-216F-422B-8FF6-79D070607C79}" srcId="{C7D742D4-8899-4302-B12B-31E818166DD9}" destId="{AFAD1D2C-C1CD-41AA-84C0-711DC114A24B}" srcOrd="0" destOrd="0" parTransId="{35C1C187-9DA3-4357-ACE6-4985088CA5B0}" sibTransId="{5F73C7D2-AA83-4D7F-8E9F-8DEEB977026F}"/>
    <dgm:cxn modelId="{3A00BDB8-6B59-4B0A-8660-70B974203920}" type="presOf" srcId="{27D2D894-0637-4F7A-90FE-2D7F00CB7B5E}" destId="{3A54A1EE-0C57-41B4-9ADC-C018D8D71E58}" srcOrd="0" destOrd="0" presId="urn:microsoft.com/office/officeart/2016/7/layout/RepeatingBendingProcessNew"/>
    <dgm:cxn modelId="{90E3E0C9-BD0B-44BF-8AA5-97DA6BFB9D8F}" type="presOf" srcId="{C7D742D4-8899-4302-B12B-31E818166DD9}" destId="{11B0CD00-B819-416C-8881-CAB71B6E586B}" srcOrd="0" destOrd="0" presId="urn:microsoft.com/office/officeart/2016/7/layout/RepeatingBendingProcessNew"/>
    <dgm:cxn modelId="{099ECECF-5C24-42D5-AF52-9B08260C3EFD}" srcId="{C7D742D4-8899-4302-B12B-31E818166DD9}" destId="{EFC9EE0A-5316-4181-ACBC-407E6FF9474D}" srcOrd="4" destOrd="0" parTransId="{2C924630-25F7-417D-8380-B14A2A34454A}" sibTransId="{27D2D894-0637-4F7A-90FE-2D7F00CB7B5E}"/>
    <dgm:cxn modelId="{0EDF65EA-BA9B-40A4-AFFF-CB7EEE9FDFD6}" srcId="{C7D742D4-8899-4302-B12B-31E818166DD9}" destId="{7A9A3C21-34FD-4BEB-9222-113BE94BD02C}" srcOrd="1" destOrd="0" parTransId="{6678E9FB-C082-48CC-997C-700D2E12E7E3}" sibTransId="{7CC981D7-7576-4E64-B9B1-BE0E42D619B3}"/>
    <dgm:cxn modelId="{FB6A55F5-6370-436E-878E-643C8757374D}" type="presOf" srcId="{715451EB-2BC4-4C69-8DC6-A9019D71A198}" destId="{E600DE75-2E7F-43D8-9A3A-233094BE11A1}" srcOrd="0" destOrd="0" presId="urn:microsoft.com/office/officeart/2016/7/layout/RepeatingBendingProcessNew"/>
    <dgm:cxn modelId="{E0BAEEFF-4804-4DDF-B618-C07E2C1E0D04}" type="presOf" srcId="{6AEFF1A4-F07B-4F8C-93C4-1594A4235AC7}" destId="{88581CB4-3B0A-4B05-83E3-A1BE183169CF}" srcOrd="0" destOrd="0" presId="urn:microsoft.com/office/officeart/2016/7/layout/RepeatingBendingProcessNew"/>
    <dgm:cxn modelId="{D48B93FC-8A7D-451A-811E-05C9B6161965}" type="presParOf" srcId="{11B0CD00-B819-416C-8881-CAB71B6E586B}" destId="{0DD83287-1354-4032-AC79-D31A005BECD9}" srcOrd="0" destOrd="0" presId="urn:microsoft.com/office/officeart/2016/7/layout/RepeatingBendingProcessNew"/>
    <dgm:cxn modelId="{807C5D4A-31CD-47F7-856D-9110DEA79BB0}" type="presParOf" srcId="{11B0CD00-B819-416C-8881-CAB71B6E586B}" destId="{EC037EE7-7DAD-401E-A647-BA2223688587}" srcOrd="1" destOrd="0" presId="urn:microsoft.com/office/officeart/2016/7/layout/RepeatingBendingProcessNew"/>
    <dgm:cxn modelId="{7729BB62-FA3A-4F71-B9A7-A4C29B80067D}" type="presParOf" srcId="{EC037EE7-7DAD-401E-A647-BA2223688587}" destId="{2ABB078A-6DD2-48D0-8D61-DF78040BA333}" srcOrd="0" destOrd="0" presId="urn:microsoft.com/office/officeart/2016/7/layout/RepeatingBendingProcessNew"/>
    <dgm:cxn modelId="{6040C7CA-8BBA-44E6-8BC7-FBCD98788E86}" type="presParOf" srcId="{11B0CD00-B819-416C-8881-CAB71B6E586B}" destId="{D506B59F-90AC-4849-B0F0-D22110039739}" srcOrd="2" destOrd="0" presId="urn:microsoft.com/office/officeart/2016/7/layout/RepeatingBendingProcessNew"/>
    <dgm:cxn modelId="{661A5CBE-291B-4EA5-8EBB-E4F76507EA77}" type="presParOf" srcId="{11B0CD00-B819-416C-8881-CAB71B6E586B}" destId="{760C35F8-5D9D-4415-B97B-6DB55E3450E7}" srcOrd="3" destOrd="0" presId="urn:microsoft.com/office/officeart/2016/7/layout/RepeatingBendingProcessNew"/>
    <dgm:cxn modelId="{891C9857-A38C-479B-AAAB-976108D27240}" type="presParOf" srcId="{760C35F8-5D9D-4415-B97B-6DB55E3450E7}" destId="{5B5E2569-04AC-4D51-BF39-7D4A638FC05B}" srcOrd="0" destOrd="0" presId="urn:microsoft.com/office/officeart/2016/7/layout/RepeatingBendingProcessNew"/>
    <dgm:cxn modelId="{F6A87108-21BF-4D59-9CA8-C99D4E17748A}" type="presParOf" srcId="{11B0CD00-B819-416C-8881-CAB71B6E586B}" destId="{1A1D4672-1836-4676-B75F-50F0B9B32C78}" srcOrd="4" destOrd="0" presId="urn:microsoft.com/office/officeart/2016/7/layout/RepeatingBendingProcessNew"/>
    <dgm:cxn modelId="{924DCD58-9F21-4CAD-BC07-0F4D87D5BA0F}" type="presParOf" srcId="{11B0CD00-B819-416C-8881-CAB71B6E586B}" destId="{85CF5366-BFF1-4E36-AE72-16DC499C11E5}" srcOrd="5" destOrd="0" presId="urn:microsoft.com/office/officeart/2016/7/layout/RepeatingBendingProcessNew"/>
    <dgm:cxn modelId="{0EDCFA9D-8DE2-4DC0-AAE1-F7D0A6E5FCFE}" type="presParOf" srcId="{85CF5366-BFF1-4E36-AE72-16DC499C11E5}" destId="{0E7C7C8B-9660-4A4C-ACC9-F5A64D541570}" srcOrd="0" destOrd="0" presId="urn:microsoft.com/office/officeart/2016/7/layout/RepeatingBendingProcessNew"/>
    <dgm:cxn modelId="{9313F0A3-A89C-40E0-9EC9-1B7ABD900372}" type="presParOf" srcId="{11B0CD00-B819-416C-8881-CAB71B6E586B}" destId="{0AC1AE17-963B-40DB-9338-9942976DD3F0}" srcOrd="6" destOrd="0" presId="urn:microsoft.com/office/officeart/2016/7/layout/RepeatingBendingProcessNew"/>
    <dgm:cxn modelId="{E91DA06C-6274-4D9E-85A5-02E4BEBE77F3}" type="presParOf" srcId="{11B0CD00-B819-416C-8881-CAB71B6E586B}" destId="{88581CB4-3B0A-4B05-83E3-A1BE183169CF}" srcOrd="7" destOrd="0" presId="urn:microsoft.com/office/officeart/2016/7/layout/RepeatingBendingProcessNew"/>
    <dgm:cxn modelId="{160DB910-4C5E-492A-88E9-76F17E6E5856}" type="presParOf" srcId="{88581CB4-3B0A-4B05-83E3-A1BE183169CF}" destId="{FD30ABB2-9E7E-4CE6-AF67-3BA991F53369}" srcOrd="0" destOrd="0" presId="urn:microsoft.com/office/officeart/2016/7/layout/RepeatingBendingProcessNew"/>
    <dgm:cxn modelId="{584A9FA7-3FD2-4F35-A6E9-3EF4B847511F}" type="presParOf" srcId="{11B0CD00-B819-416C-8881-CAB71B6E586B}" destId="{134C389A-8072-43E0-BD43-C6E317D29A1A}" srcOrd="8" destOrd="0" presId="urn:microsoft.com/office/officeart/2016/7/layout/RepeatingBendingProcessNew"/>
    <dgm:cxn modelId="{D35DF945-2535-471C-81E3-7F8B6C904619}" type="presParOf" srcId="{11B0CD00-B819-416C-8881-CAB71B6E586B}" destId="{3A54A1EE-0C57-41B4-9ADC-C018D8D71E58}" srcOrd="9" destOrd="0" presId="urn:microsoft.com/office/officeart/2016/7/layout/RepeatingBendingProcessNew"/>
    <dgm:cxn modelId="{1BA79249-777C-42C4-8773-EC5A1CCB32BE}" type="presParOf" srcId="{3A54A1EE-0C57-41B4-9ADC-C018D8D71E58}" destId="{F905EF13-458A-47AE-8719-FEA321EFB013}" srcOrd="0" destOrd="0" presId="urn:microsoft.com/office/officeart/2016/7/layout/RepeatingBendingProcessNew"/>
    <dgm:cxn modelId="{561802ED-C4E4-4421-B33E-AD9C488C63F9}" type="presParOf" srcId="{11B0CD00-B819-416C-8881-CAB71B6E586B}" destId="{E600DE75-2E7F-43D8-9A3A-233094BE11A1}"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EC1FAFD-5FAB-4221-A91F-18A3B53E2E72}" type="doc">
      <dgm:prSet loTypeId="urn:microsoft.com/office/officeart/2016/7/layout/VerticalDownArrowProcess" loCatId="process" qsTypeId="urn:microsoft.com/office/officeart/2005/8/quickstyle/simple1" qsCatId="simple" csTypeId="urn:microsoft.com/office/officeart/2005/8/colors/accent2_2" csCatId="accent2"/>
      <dgm:spPr/>
      <dgm:t>
        <a:bodyPr/>
        <a:lstStyle/>
        <a:p>
          <a:endParaRPr lang="en-US"/>
        </a:p>
      </dgm:t>
    </dgm:pt>
    <dgm:pt modelId="{CA52E517-D9D6-4E0C-9596-C67B01A54A71}">
      <dgm:prSet/>
      <dgm:spPr/>
      <dgm:t>
        <a:bodyPr/>
        <a:lstStyle/>
        <a:p>
          <a:r>
            <a:rPr lang="en-US"/>
            <a:t>Go</a:t>
          </a:r>
        </a:p>
      </dgm:t>
    </dgm:pt>
    <dgm:pt modelId="{B7C34C6A-13B7-48A0-8091-BAFBCA661E93}" type="parTrans" cxnId="{A985BF7F-2EB7-4F3B-975D-03F606F711DE}">
      <dgm:prSet/>
      <dgm:spPr/>
      <dgm:t>
        <a:bodyPr/>
        <a:lstStyle/>
        <a:p>
          <a:endParaRPr lang="en-US"/>
        </a:p>
      </dgm:t>
    </dgm:pt>
    <dgm:pt modelId="{331039EB-7DBE-4E8D-92A4-525987F57FF2}" type="sibTrans" cxnId="{A985BF7F-2EB7-4F3B-975D-03F606F711DE}">
      <dgm:prSet/>
      <dgm:spPr/>
      <dgm:t>
        <a:bodyPr/>
        <a:lstStyle/>
        <a:p>
          <a:endParaRPr lang="en-US"/>
        </a:p>
      </dgm:t>
    </dgm:pt>
    <dgm:pt modelId="{A5225388-6B8E-4077-B82D-0CD2CE6EA76B}">
      <dgm:prSet/>
      <dgm:spPr/>
      <dgm:t>
        <a:bodyPr/>
        <a:lstStyle/>
        <a:p>
          <a:r>
            <a:rPr lang="en-US"/>
            <a:t>Go to the Azure Marketplace</a:t>
          </a:r>
        </a:p>
      </dgm:t>
    </dgm:pt>
    <dgm:pt modelId="{F33BA481-E18E-409A-9922-2C3604C394E6}" type="parTrans" cxnId="{C4DE9075-F0F9-48B8-8796-B76659CAB814}">
      <dgm:prSet/>
      <dgm:spPr/>
      <dgm:t>
        <a:bodyPr/>
        <a:lstStyle/>
        <a:p>
          <a:endParaRPr lang="en-US"/>
        </a:p>
      </dgm:t>
    </dgm:pt>
    <dgm:pt modelId="{691F696D-A399-4921-9A12-8E6D127DA171}" type="sibTrans" cxnId="{C4DE9075-F0F9-48B8-8796-B76659CAB814}">
      <dgm:prSet/>
      <dgm:spPr/>
      <dgm:t>
        <a:bodyPr/>
        <a:lstStyle/>
        <a:p>
          <a:endParaRPr lang="en-US"/>
        </a:p>
      </dgm:t>
    </dgm:pt>
    <dgm:pt modelId="{81587378-7368-466F-9B72-43169F6F0F38}">
      <dgm:prSet/>
      <dgm:spPr/>
      <dgm:t>
        <a:bodyPr/>
        <a:lstStyle/>
        <a:p>
          <a:r>
            <a:rPr lang="en-US"/>
            <a:t>Use</a:t>
          </a:r>
        </a:p>
      </dgm:t>
    </dgm:pt>
    <dgm:pt modelId="{63636736-C408-4496-9B4B-B180D0C4DDFE}" type="parTrans" cxnId="{B3B2C7AD-398B-45F3-913F-31EBE30EF915}">
      <dgm:prSet/>
      <dgm:spPr/>
      <dgm:t>
        <a:bodyPr/>
        <a:lstStyle/>
        <a:p>
          <a:endParaRPr lang="en-US"/>
        </a:p>
      </dgm:t>
    </dgm:pt>
    <dgm:pt modelId="{836BE037-4059-4C95-8FC3-E62E5AFC7F68}" type="sibTrans" cxnId="{B3B2C7AD-398B-45F3-913F-31EBE30EF915}">
      <dgm:prSet/>
      <dgm:spPr/>
      <dgm:t>
        <a:bodyPr/>
        <a:lstStyle/>
        <a:p>
          <a:endParaRPr lang="en-US"/>
        </a:p>
      </dgm:t>
    </dgm:pt>
    <dgm:pt modelId="{3D1A4B44-F390-4928-A7A1-133C6B2802C8}">
      <dgm:prSet/>
      <dgm:spPr/>
      <dgm:t>
        <a:bodyPr/>
        <a:lstStyle/>
        <a:p>
          <a:r>
            <a:rPr lang="en-US"/>
            <a:t>Use the Browse apps to select Security</a:t>
          </a:r>
        </a:p>
      </dgm:t>
    </dgm:pt>
    <dgm:pt modelId="{9E23A7E6-3164-47A3-9360-C057CFE587EF}" type="parTrans" cxnId="{D23AE020-69C3-4845-A442-1A538A55793E}">
      <dgm:prSet/>
      <dgm:spPr/>
      <dgm:t>
        <a:bodyPr/>
        <a:lstStyle/>
        <a:p>
          <a:endParaRPr lang="en-US"/>
        </a:p>
      </dgm:t>
    </dgm:pt>
    <dgm:pt modelId="{7D4A3154-68FA-4F66-B9B8-7FDCD5314959}" type="sibTrans" cxnId="{D23AE020-69C3-4845-A442-1A538A55793E}">
      <dgm:prSet/>
      <dgm:spPr/>
      <dgm:t>
        <a:bodyPr/>
        <a:lstStyle/>
        <a:p>
          <a:endParaRPr lang="en-US"/>
        </a:p>
      </dgm:t>
    </dgm:pt>
    <dgm:pt modelId="{4B0D8409-55A8-498C-9275-76813F3817CA}">
      <dgm:prSet/>
      <dgm:spPr/>
      <dgm:t>
        <a:bodyPr/>
        <a:lstStyle/>
        <a:p>
          <a:r>
            <a:rPr lang="en-US"/>
            <a:t>Filter</a:t>
          </a:r>
        </a:p>
      </dgm:t>
    </dgm:pt>
    <dgm:pt modelId="{C0DE512D-2354-4013-9A5F-D04C9FBEC1FD}" type="parTrans" cxnId="{838C4EA4-DD33-4B74-A4D6-EC0A8C98D09D}">
      <dgm:prSet/>
      <dgm:spPr/>
      <dgm:t>
        <a:bodyPr/>
        <a:lstStyle/>
        <a:p>
          <a:endParaRPr lang="en-US"/>
        </a:p>
      </dgm:t>
    </dgm:pt>
    <dgm:pt modelId="{16EA9326-F4B2-498C-AFDB-DB2196380386}" type="sibTrans" cxnId="{838C4EA4-DD33-4B74-A4D6-EC0A8C98D09D}">
      <dgm:prSet/>
      <dgm:spPr/>
      <dgm:t>
        <a:bodyPr/>
        <a:lstStyle/>
        <a:p>
          <a:endParaRPr lang="en-US"/>
        </a:p>
      </dgm:t>
    </dgm:pt>
    <dgm:pt modelId="{38D20F31-9967-4423-B354-4C019AE85601}">
      <dgm:prSet/>
      <dgm:spPr/>
      <dgm:t>
        <a:bodyPr/>
        <a:lstStyle/>
        <a:p>
          <a:r>
            <a:rPr lang="en-US"/>
            <a:t>Filter the Service Types to Workshop</a:t>
          </a:r>
        </a:p>
      </dgm:t>
    </dgm:pt>
    <dgm:pt modelId="{9BA62F3C-7AA5-42AE-BC5A-9E91A870A61D}" type="parTrans" cxnId="{ACDFB8A8-BA58-4A22-87A3-8D005712092F}">
      <dgm:prSet/>
      <dgm:spPr/>
      <dgm:t>
        <a:bodyPr/>
        <a:lstStyle/>
        <a:p>
          <a:endParaRPr lang="en-US"/>
        </a:p>
      </dgm:t>
    </dgm:pt>
    <dgm:pt modelId="{11E997F3-88F7-4448-B343-F5AD4BB028D4}" type="sibTrans" cxnId="{ACDFB8A8-BA58-4A22-87A3-8D005712092F}">
      <dgm:prSet/>
      <dgm:spPr/>
      <dgm:t>
        <a:bodyPr/>
        <a:lstStyle/>
        <a:p>
          <a:endParaRPr lang="en-US"/>
        </a:p>
      </dgm:t>
    </dgm:pt>
    <dgm:pt modelId="{A16EE1AD-F62F-4EC8-B075-3D64340DA07A}">
      <dgm:prSet/>
      <dgm:spPr/>
      <dgm:t>
        <a:bodyPr/>
        <a:lstStyle/>
        <a:p>
          <a:r>
            <a:rPr lang="en-US"/>
            <a:t>Filter</a:t>
          </a:r>
        </a:p>
      </dgm:t>
    </dgm:pt>
    <dgm:pt modelId="{EF667EB8-9332-4398-A22B-F03EFA296988}" type="parTrans" cxnId="{E6B398D2-E492-42E8-B171-67352BDA15AE}">
      <dgm:prSet/>
      <dgm:spPr/>
      <dgm:t>
        <a:bodyPr/>
        <a:lstStyle/>
        <a:p>
          <a:endParaRPr lang="en-US"/>
        </a:p>
      </dgm:t>
    </dgm:pt>
    <dgm:pt modelId="{D24601C4-63A4-42BB-8786-EDD99C5557D0}" type="sibTrans" cxnId="{E6B398D2-E492-42E8-B171-67352BDA15AE}">
      <dgm:prSet/>
      <dgm:spPr/>
      <dgm:t>
        <a:bodyPr/>
        <a:lstStyle/>
        <a:p>
          <a:endParaRPr lang="en-US"/>
        </a:p>
      </dgm:t>
    </dgm:pt>
    <dgm:pt modelId="{042C64E2-D7B6-4E31-9B39-9A2BBD7F66E5}">
      <dgm:prSet/>
      <dgm:spPr/>
      <dgm:t>
        <a:bodyPr/>
        <a:lstStyle/>
        <a:p>
          <a:r>
            <a:rPr lang="en-US"/>
            <a:t>Filter the Pricing Model to Paid</a:t>
          </a:r>
        </a:p>
      </dgm:t>
    </dgm:pt>
    <dgm:pt modelId="{1723D84C-3B12-439B-ACA0-ACA93F35FEF8}" type="parTrans" cxnId="{C5EB9534-F3EC-46F1-B827-5FA5075ECC8D}">
      <dgm:prSet/>
      <dgm:spPr/>
      <dgm:t>
        <a:bodyPr/>
        <a:lstStyle/>
        <a:p>
          <a:endParaRPr lang="en-US"/>
        </a:p>
      </dgm:t>
    </dgm:pt>
    <dgm:pt modelId="{D5B053E6-7DDE-4E01-B494-45330B3F2741}" type="sibTrans" cxnId="{C5EB9534-F3EC-46F1-B827-5FA5075ECC8D}">
      <dgm:prSet/>
      <dgm:spPr/>
      <dgm:t>
        <a:bodyPr/>
        <a:lstStyle/>
        <a:p>
          <a:endParaRPr lang="en-US"/>
        </a:p>
      </dgm:t>
    </dgm:pt>
    <dgm:pt modelId="{26A9F147-FFB5-40D7-BEE9-7C91B41AE3EE}">
      <dgm:prSet/>
      <dgm:spPr/>
      <dgm:t>
        <a:bodyPr/>
        <a:lstStyle/>
        <a:p>
          <a:r>
            <a:rPr lang="en-US"/>
            <a:t>Find</a:t>
          </a:r>
        </a:p>
      </dgm:t>
    </dgm:pt>
    <dgm:pt modelId="{42126BD5-402B-4207-9700-B0DA84B99CC4}" type="parTrans" cxnId="{2E3A2029-EFF0-45C7-840E-AA933B33A534}">
      <dgm:prSet/>
      <dgm:spPr/>
      <dgm:t>
        <a:bodyPr/>
        <a:lstStyle/>
        <a:p>
          <a:endParaRPr lang="en-US"/>
        </a:p>
      </dgm:t>
    </dgm:pt>
    <dgm:pt modelId="{C4DA66C4-7ABC-4293-A741-426DBCEDF32C}" type="sibTrans" cxnId="{2E3A2029-EFF0-45C7-840E-AA933B33A534}">
      <dgm:prSet/>
      <dgm:spPr/>
      <dgm:t>
        <a:bodyPr/>
        <a:lstStyle/>
        <a:p>
          <a:endParaRPr lang="en-US"/>
        </a:p>
      </dgm:t>
    </dgm:pt>
    <dgm:pt modelId="{DB844DDC-6129-4ABC-81A2-E765A14FC9FB}">
      <dgm:prSet/>
      <dgm:spPr/>
      <dgm:t>
        <a:bodyPr/>
        <a:lstStyle/>
        <a:p>
          <a:r>
            <a:rPr lang="en-US"/>
            <a:t>Find a consulting service</a:t>
          </a:r>
        </a:p>
      </dgm:t>
    </dgm:pt>
    <dgm:pt modelId="{416BB739-5DDC-44C4-946E-517F0F56B83F}" type="parTrans" cxnId="{AF46A3D2-E791-463A-B88D-C7A771153930}">
      <dgm:prSet/>
      <dgm:spPr/>
      <dgm:t>
        <a:bodyPr/>
        <a:lstStyle/>
        <a:p>
          <a:endParaRPr lang="en-US"/>
        </a:p>
      </dgm:t>
    </dgm:pt>
    <dgm:pt modelId="{B5AF7955-B1B5-4501-B5B1-1316E992EBEB}" type="sibTrans" cxnId="{AF46A3D2-E791-463A-B88D-C7A771153930}">
      <dgm:prSet/>
      <dgm:spPr/>
      <dgm:t>
        <a:bodyPr/>
        <a:lstStyle/>
        <a:p>
          <a:endParaRPr lang="en-US"/>
        </a:p>
      </dgm:t>
    </dgm:pt>
    <dgm:pt modelId="{6FE92D77-6368-40CB-8BB8-669C93E891AC}">
      <dgm:prSet/>
      <dgm:spPr/>
      <dgm:t>
        <a:bodyPr/>
        <a:lstStyle/>
        <a:p>
          <a:r>
            <a:rPr lang="en-US"/>
            <a:t>Mark</a:t>
          </a:r>
        </a:p>
      </dgm:t>
    </dgm:pt>
    <dgm:pt modelId="{486DC5FE-379F-4A48-9E14-EF74A9B386A5}" type="parTrans" cxnId="{AD2D9312-0201-4B82-8ACB-313629D8AC40}">
      <dgm:prSet/>
      <dgm:spPr/>
      <dgm:t>
        <a:bodyPr/>
        <a:lstStyle/>
        <a:p>
          <a:endParaRPr lang="en-US"/>
        </a:p>
      </dgm:t>
    </dgm:pt>
    <dgm:pt modelId="{DA1EC12D-9B51-4261-8A6A-2EEE485A63AF}" type="sibTrans" cxnId="{AD2D9312-0201-4B82-8ACB-313629D8AC40}">
      <dgm:prSet/>
      <dgm:spPr/>
      <dgm:t>
        <a:bodyPr/>
        <a:lstStyle/>
        <a:p>
          <a:endParaRPr lang="en-US"/>
        </a:p>
      </dgm:t>
    </dgm:pt>
    <dgm:pt modelId="{0F34F48C-A550-49B8-903B-86995D6EB001}">
      <dgm:prSet/>
      <dgm:spPr/>
      <dgm:t>
        <a:bodyPr/>
        <a:lstStyle/>
        <a:p>
          <a:r>
            <a:rPr lang="en-US"/>
            <a:t>Mark it as a favorite</a:t>
          </a:r>
        </a:p>
      </dgm:t>
    </dgm:pt>
    <dgm:pt modelId="{4BB2AA9B-B9D5-47D8-8F19-842E4CD5A4B8}" type="parTrans" cxnId="{0184A397-75EB-482B-A6A8-A16FE8F00A85}">
      <dgm:prSet/>
      <dgm:spPr/>
      <dgm:t>
        <a:bodyPr/>
        <a:lstStyle/>
        <a:p>
          <a:endParaRPr lang="en-US"/>
        </a:p>
      </dgm:t>
    </dgm:pt>
    <dgm:pt modelId="{FCB1A2D1-DE04-4608-AE0C-A052FC98FF8B}" type="sibTrans" cxnId="{0184A397-75EB-482B-A6A8-A16FE8F00A85}">
      <dgm:prSet/>
      <dgm:spPr/>
      <dgm:t>
        <a:bodyPr/>
        <a:lstStyle/>
        <a:p>
          <a:endParaRPr lang="en-US"/>
        </a:p>
      </dgm:t>
    </dgm:pt>
    <dgm:pt modelId="{BDFC4DE7-C2F3-412A-8B35-9C3E6D8415AD}" type="pres">
      <dgm:prSet presAssocID="{9EC1FAFD-5FAB-4221-A91F-18A3B53E2E72}" presName="Name0" presStyleCnt="0">
        <dgm:presLayoutVars>
          <dgm:dir/>
          <dgm:animLvl val="lvl"/>
          <dgm:resizeHandles val="exact"/>
        </dgm:presLayoutVars>
      </dgm:prSet>
      <dgm:spPr/>
    </dgm:pt>
    <dgm:pt modelId="{2DB6B27D-ACE0-4CE6-9F5D-F2B90C445405}" type="pres">
      <dgm:prSet presAssocID="{6FE92D77-6368-40CB-8BB8-669C93E891AC}" presName="boxAndChildren" presStyleCnt="0"/>
      <dgm:spPr/>
    </dgm:pt>
    <dgm:pt modelId="{A633C143-D754-412F-A3EF-553280136D69}" type="pres">
      <dgm:prSet presAssocID="{6FE92D77-6368-40CB-8BB8-669C93E891AC}" presName="parentTextBox" presStyleLbl="alignNode1" presStyleIdx="0" presStyleCnt="6"/>
      <dgm:spPr/>
    </dgm:pt>
    <dgm:pt modelId="{444386FF-6FA2-467D-8D99-032624C0A1DF}" type="pres">
      <dgm:prSet presAssocID="{6FE92D77-6368-40CB-8BB8-669C93E891AC}" presName="descendantBox" presStyleLbl="bgAccFollowNode1" presStyleIdx="0" presStyleCnt="6"/>
      <dgm:spPr/>
    </dgm:pt>
    <dgm:pt modelId="{5E040CA0-DBC7-40DA-BD7D-7716B217CB68}" type="pres">
      <dgm:prSet presAssocID="{C4DA66C4-7ABC-4293-A741-426DBCEDF32C}" presName="sp" presStyleCnt="0"/>
      <dgm:spPr/>
    </dgm:pt>
    <dgm:pt modelId="{866F8F86-FABE-43AF-B49B-011C69BD4CF5}" type="pres">
      <dgm:prSet presAssocID="{26A9F147-FFB5-40D7-BEE9-7C91B41AE3EE}" presName="arrowAndChildren" presStyleCnt="0"/>
      <dgm:spPr/>
    </dgm:pt>
    <dgm:pt modelId="{8E4B646B-1E25-41D9-87FA-F3E5888E8377}" type="pres">
      <dgm:prSet presAssocID="{26A9F147-FFB5-40D7-BEE9-7C91B41AE3EE}" presName="parentTextArrow" presStyleLbl="node1" presStyleIdx="0" presStyleCnt="0"/>
      <dgm:spPr/>
    </dgm:pt>
    <dgm:pt modelId="{F7F700F7-FFC6-47E6-B2A6-F1E2BA14F45E}" type="pres">
      <dgm:prSet presAssocID="{26A9F147-FFB5-40D7-BEE9-7C91B41AE3EE}" presName="arrow" presStyleLbl="alignNode1" presStyleIdx="1" presStyleCnt="6"/>
      <dgm:spPr/>
    </dgm:pt>
    <dgm:pt modelId="{8BDD0526-5732-4575-875D-AA10FC8BF1EE}" type="pres">
      <dgm:prSet presAssocID="{26A9F147-FFB5-40D7-BEE9-7C91B41AE3EE}" presName="descendantArrow" presStyleLbl="bgAccFollowNode1" presStyleIdx="1" presStyleCnt="6"/>
      <dgm:spPr/>
    </dgm:pt>
    <dgm:pt modelId="{7A56642E-1EC5-4F0C-B696-C6AC309824AD}" type="pres">
      <dgm:prSet presAssocID="{D24601C4-63A4-42BB-8786-EDD99C5557D0}" presName="sp" presStyleCnt="0"/>
      <dgm:spPr/>
    </dgm:pt>
    <dgm:pt modelId="{4FF13A6C-3F33-4A05-A282-3A21A3E6675C}" type="pres">
      <dgm:prSet presAssocID="{A16EE1AD-F62F-4EC8-B075-3D64340DA07A}" presName="arrowAndChildren" presStyleCnt="0"/>
      <dgm:spPr/>
    </dgm:pt>
    <dgm:pt modelId="{C559054E-64DF-4344-B846-20B76110889D}" type="pres">
      <dgm:prSet presAssocID="{A16EE1AD-F62F-4EC8-B075-3D64340DA07A}" presName="parentTextArrow" presStyleLbl="node1" presStyleIdx="0" presStyleCnt="0"/>
      <dgm:spPr/>
    </dgm:pt>
    <dgm:pt modelId="{30A9B216-CBA0-453D-84BF-88C2301BF88B}" type="pres">
      <dgm:prSet presAssocID="{A16EE1AD-F62F-4EC8-B075-3D64340DA07A}" presName="arrow" presStyleLbl="alignNode1" presStyleIdx="2" presStyleCnt="6"/>
      <dgm:spPr/>
    </dgm:pt>
    <dgm:pt modelId="{453622B5-00E2-413A-8EA2-2896FA97222B}" type="pres">
      <dgm:prSet presAssocID="{A16EE1AD-F62F-4EC8-B075-3D64340DA07A}" presName="descendantArrow" presStyleLbl="bgAccFollowNode1" presStyleIdx="2" presStyleCnt="6"/>
      <dgm:spPr/>
    </dgm:pt>
    <dgm:pt modelId="{043DBC09-C832-414E-B320-B94F3E1EBD8A}" type="pres">
      <dgm:prSet presAssocID="{16EA9326-F4B2-498C-AFDB-DB2196380386}" presName="sp" presStyleCnt="0"/>
      <dgm:spPr/>
    </dgm:pt>
    <dgm:pt modelId="{928FAD6D-5E04-4B8A-BFB7-0B7942BBDD7A}" type="pres">
      <dgm:prSet presAssocID="{4B0D8409-55A8-498C-9275-76813F3817CA}" presName="arrowAndChildren" presStyleCnt="0"/>
      <dgm:spPr/>
    </dgm:pt>
    <dgm:pt modelId="{3AA702A0-480D-4C44-822D-797D681D8B52}" type="pres">
      <dgm:prSet presAssocID="{4B0D8409-55A8-498C-9275-76813F3817CA}" presName="parentTextArrow" presStyleLbl="node1" presStyleIdx="0" presStyleCnt="0"/>
      <dgm:spPr/>
    </dgm:pt>
    <dgm:pt modelId="{FD6D2EDF-02A3-425F-93C7-659532CF7DC7}" type="pres">
      <dgm:prSet presAssocID="{4B0D8409-55A8-498C-9275-76813F3817CA}" presName="arrow" presStyleLbl="alignNode1" presStyleIdx="3" presStyleCnt="6"/>
      <dgm:spPr/>
    </dgm:pt>
    <dgm:pt modelId="{FBF9D00E-DCF8-49CB-B755-BCB8A54BC3C8}" type="pres">
      <dgm:prSet presAssocID="{4B0D8409-55A8-498C-9275-76813F3817CA}" presName="descendantArrow" presStyleLbl="bgAccFollowNode1" presStyleIdx="3" presStyleCnt="6"/>
      <dgm:spPr/>
    </dgm:pt>
    <dgm:pt modelId="{4400AD55-6300-4C42-AEA7-4CA2D2FE3AC2}" type="pres">
      <dgm:prSet presAssocID="{836BE037-4059-4C95-8FC3-E62E5AFC7F68}" presName="sp" presStyleCnt="0"/>
      <dgm:spPr/>
    </dgm:pt>
    <dgm:pt modelId="{2470EB8C-05B7-4683-B8E1-46707725DF61}" type="pres">
      <dgm:prSet presAssocID="{81587378-7368-466F-9B72-43169F6F0F38}" presName="arrowAndChildren" presStyleCnt="0"/>
      <dgm:spPr/>
    </dgm:pt>
    <dgm:pt modelId="{1F28675D-3AF1-42F8-80EB-D55E35F773E0}" type="pres">
      <dgm:prSet presAssocID="{81587378-7368-466F-9B72-43169F6F0F38}" presName="parentTextArrow" presStyleLbl="node1" presStyleIdx="0" presStyleCnt="0"/>
      <dgm:spPr/>
    </dgm:pt>
    <dgm:pt modelId="{2A8833E1-3381-41E2-BAFD-62EA1AB8A370}" type="pres">
      <dgm:prSet presAssocID="{81587378-7368-466F-9B72-43169F6F0F38}" presName="arrow" presStyleLbl="alignNode1" presStyleIdx="4" presStyleCnt="6"/>
      <dgm:spPr/>
    </dgm:pt>
    <dgm:pt modelId="{A91FFD47-A07C-49C0-BB13-678F7F07CCF1}" type="pres">
      <dgm:prSet presAssocID="{81587378-7368-466F-9B72-43169F6F0F38}" presName="descendantArrow" presStyleLbl="bgAccFollowNode1" presStyleIdx="4" presStyleCnt="6"/>
      <dgm:spPr/>
    </dgm:pt>
    <dgm:pt modelId="{7708F11D-97B7-4326-AB8A-1253536B0C71}" type="pres">
      <dgm:prSet presAssocID="{331039EB-7DBE-4E8D-92A4-525987F57FF2}" presName="sp" presStyleCnt="0"/>
      <dgm:spPr/>
    </dgm:pt>
    <dgm:pt modelId="{60F26D6E-2900-40DA-8B2B-0531BA68FC55}" type="pres">
      <dgm:prSet presAssocID="{CA52E517-D9D6-4E0C-9596-C67B01A54A71}" presName="arrowAndChildren" presStyleCnt="0"/>
      <dgm:spPr/>
    </dgm:pt>
    <dgm:pt modelId="{8A26C1C0-806F-4E3D-839D-5822E1B96417}" type="pres">
      <dgm:prSet presAssocID="{CA52E517-D9D6-4E0C-9596-C67B01A54A71}" presName="parentTextArrow" presStyleLbl="node1" presStyleIdx="0" presStyleCnt="0"/>
      <dgm:spPr/>
    </dgm:pt>
    <dgm:pt modelId="{FE35DFC9-465D-4107-813F-71D98950F785}" type="pres">
      <dgm:prSet presAssocID="{CA52E517-D9D6-4E0C-9596-C67B01A54A71}" presName="arrow" presStyleLbl="alignNode1" presStyleIdx="5" presStyleCnt="6"/>
      <dgm:spPr/>
    </dgm:pt>
    <dgm:pt modelId="{1046637E-4512-4E46-B39F-F96226FD2C17}" type="pres">
      <dgm:prSet presAssocID="{CA52E517-D9D6-4E0C-9596-C67B01A54A71}" presName="descendantArrow" presStyleLbl="bgAccFollowNode1" presStyleIdx="5" presStyleCnt="6"/>
      <dgm:spPr/>
    </dgm:pt>
  </dgm:ptLst>
  <dgm:cxnLst>
    <dgm:cxn modelId="{57C6A501-DC94-4D95-8E88-CE8F048ADFBE}" type="presOf" srcId="{26A9F147-FFB5-40D7-BEE9-7C91B41AE3EE}" destId="{8E4B646B-1E25-41D9-87FA-F3E5888E8377}" srcOrd="0" destOrd="0" presId="urn:microsoft.com/office/officeart/2016/7/layout/VerticalDownArrowProcess"/>
    <dgm:cxn modelId="{AD2D9312-0201-4B82-8ACB-313629D8AC40}" srcId="{9EC1FAFD-5FAB-4221-A91F-18A3B53E2E72}" destId="{6FE92D77-6368-40CB-8BB8-669C93E891AC}" srcOrd="5" destOrd="0" parTransId="{486DC5FE-379F-4A48-9E14-EF74A9B386A5}" sibTransId="{DA1EC12D-9B51-4261-8A6A-2EEE485A63AF}"/>
    <dgm:cxn modelId="{FDDEB515-2D47-429A-BA55-CA187519B670}" type="presOf" srcId="{81587378-7368-466F-9B72-43169F6F0F38}" destId="{1F28675D-3AF1-42F8-80EB-D55E35F773E0}" srcOrd="0" destOrd="0" presId="urn:microsoft.com/office/officeart/2016/7/layout/VerticalDownArrowProcess"/>
    <dgm:cxn modelId="{D23AE020-69C3-4845-A442-1A538A55793E}" srcId="{81587378-7368-466F-9B72-43169F6F0F38}" destId="{3D1A4B44-F390-4928-A7A1-133C6B2802C8}" srcOrd="0" destOrd="0" parTransId="{9E23A7E6-3164-47A3-9360-C057CFE587EF}" sibTransId="{7D4A3154-68FA-4F66-B9B8-7FDCD5314959}"/>
    <dgm:cxn modelId="{7061FD23-898D-418E-BE83-C23BA679886C}" type="presOf" srcId="{9EC1FAFD-5FAB-4221-A91F-18A3B53E2E72}" destId="{BDFC4DE7-C2F3-412A-8B35-9C3E6D8415AD}" srcOrd="0" destOrd="0" presId="urn:microsoft.com/office/officeart/2016/7/layout/VerticalDownArrowProcess"/>
    <dgm:cxn modelId="{6B4F9825-6463-4D78-9A27-40061A5B9E7A}" type="presOf" srcId="{CA52E517-D9D6-4E0C-9596-C67B01A54A71}" destId="{8A26C1C0-806F-4E3D-839D-5822E1B96417}" srcOrd="0" destOrd="0" presId="urn:microsoft.com/office/officeart/2016/7/layout/VerticalDownArrowProcess"/>
    <dgm:cxn modelId="{2E3A2029-EFF0-45C7-840E-AA933B33A534}" srcId="{9EC1FAFD-5FAB-4221-A91F-18A3B53E2E72}" destId="{26A9F147-FFB5-40D7-BEE9-7C91B41AE3EE}" srcOrd="4" destOrd="0" parTransId="{42126BD5-402B-4207-9700-B0DA84B99CC4}" sibTransId="{C4DA66C4-7ABC-4293-A741-426DBCEDF32C}"/>
    <dgm:cxn modelId="{D6462432-857D-489D-91F5-3ED1C4CAACCC}" type="presOf" srcId="{38D20F31-9967-4423-B354-4C019AE85601}" destId="{FBF9D00E-DCF8-49CB-B755-BCB8A54BC3C8}" srcOrd="0" destOrd="0" presId="urn:microsoft.com/office/officeart/2016/7/layout/VerticalDownArrowProcess"/>
    <dgm:cxn modelId="{B0F84634-97D4-47A6-94E6-531B337231F8}" type="presOf" srcId="{4B0D8409-55A8-498C-9275-76813F3817CA}" destId="{FD6D2EDF-02A3-425F-93C7-659532CF7DC7}" srcOrd="1" destOrd="0" presId="urn:microsoft.com/office/officeart/2016/7/layout/VerticalDownArrowProcess"/>
    <dgm:cxn modelId="{C5EB9534-F3EC-46F1-B827-5FA5075ECC8D}" srcId="{A16EE1AD-F62F-4EC8-B075-3D64340DA07A}" destId="{042C64E2-D7B6-4E31-9B39-9A2BBD7F66E5}" srcOrd="0" destOrd="0" parTransId="{1723D84C-3B12-439B-ACA0-ACA93F35FEF8}" sibTransId="{D5B053E6-7DDE-4E01-B494-45330B3F2741}"/>
    <dgm:cxn modelId="{87254239-89C3-4947-821C-A5F400AEB623}" type="presOf" srcId="{0F34F48C-A550-49B8-903B-86995D6EB001}" destId="{444386FF-6FA2-467D-8D99-032624C0A1DF}" srcOrd="0" destOrd="0" presId="urn:microsoft.com/office/officeart/2016/7/layout/VerticalDownArrowProcess"/>
    <dgm:cxn modelId="{AD85063B-7B53-470E-853E-77BCBB6809FF}" type="presOf" srcId="{26A9F147-FFB5-40D7-BEE9-7C91B41AE3EE}" destId="{F7F700F7-FFC6-47E6-B2A6-F1E2BA14F45E}" srcOrd="1" destOrd="0" presId="urn:microsoft.com/office/officeart/2016/7/layout/VerticalDownArrowProcess"/>
    <dgm:cxn modelId="{C6045140-0943-47A7-9355-BE8263E4D465}" type="presOf" srcId="{A16EE1AD-F62F-4EC8-B075-3D64340DA07A}" destId="{30A9B216-CBA0-453D-84BF-88C2301BF88B}" srcOrd="1" destOrd="0" presId="urn:microsoft.com/office/officeart/2016/7/layout/VerticalDownArrowProcess"/>
    <dgm:cxn modelId="{C608355E-C1D6-48CE-80C4-64741479EDAE}" type="presOf" srcId="{4B0D8409-55A8-498C-9275-76813F3817CA}" destId="{3AA702A0-480D-4C44-822D-797D681D8B52}" srcOrd="0" destOrd="0" presId="urn:microsoft.com/office/officeart/2016/7/layout/VerticalDownArrowProcess"/>
    <dgm:cxn modelId="{6191C642-8483-4157-BCC9-EAD6D6553077}" type="presOf" srcId="{DB844DDC-6129-4ABC-81A2-E765A14FC9FB}" destId="{8BDD0526-5732-4575-875D-AA10FC8BF1EE}" srcOrd="0" destOrd="0" presId="urn:microsoft.com/office/officeart/2016/7/layout/VerticalDownArrowProcess"/>
    <dgm:cxn modelId="{3E737065-C456-48F6-89E9-D66676B8B52E}" type="presOf" srcId="{042C64E2-D7B6-4E31-9B39-9A2BBD7F66E5}" destId="{453622B5-00E2-413A-8EA2-2896FA97222B}" srcOrd="0" destOrd="0" presId="urn:microsoft.com/office/officeart/2016/7/layout/VerticalDownArrowProcess"/>
    <dgm:cxn modelId="{B7431E67-360F-46A5-A072-6F70253E20A9}" type="presOf" srcId="{A5225388-6B8E-4077-B82D-0CD2CE6EA76B}" destId="{1046637E-4512-4E46-B39F-F96226FD2C17}" srcOrd="0" destOrd="0" presId="urn:microsoft.com/office/officeart/2016/7/layout/VerticalDownArrowProcess"/>
    <dgm:cxn modelId="{8ED1F84D-6D05-4107-8891-91339C2C676A}" type="presOf" srcId="{6FE92D77-6368-40CB-8BB8-669C93E891AC}" destId="{A633C143-D754-412F-A3EF-553280136D69}" srcOrd="0" destOrd="0" presId="urn:microsoft.com/office/officeart/2016/7/layout/VerticalDownArrowProcess"/>
    <dgm:cxn modelId="{5B73124E-5163-485B-B78E-0CD01DB9162B}" type="presOf" srcId="{CA52E517-D9D6-4E0C-9596-C67B01A54A71}" destId="{FE35DFC9-465D-4107-813F-71D98950F785}" srcOrd="1" destOrd="0" presId="urn:microsoft.com/office/officeart/2016/7/layout/VerticalDownArrowProcess"/>
    <dgm:cxn modelId="{C4DE9075-F0F9-48B8-8796-B76659CAB814}" srcId="{CA52E517-D9D6-4E0C-9596-C67B01A54A71}" destId="{A5225388-6B8E-4077-B82D-0CD2CE6EA76B}" srcOrd="0" destOrd="0" parTransId="{F33BA481-E18E-409A-9922-2C3604C394E6}" sibTransId="{691F696D-A399-4921-9A12-8E6D127DA171}"/>
    <dgm:cxn modelId="{A985BF7F-2EB7-4F3B-975D-03F606F711DE}" srcId="{9EC1FAFD-5FAB-4221-A91F-18A3B53E2E72}" destId="{CA52E517-D9D6-4E0C-9596-C67B01A54A71}" srcOrd="0" destOrd="0" parTransId="{B7C34C6A-13B7-48A0-8091-BAFBCA661E93}" sibTransId="{331039EB-7DBE-4E8D-92A4-525987F57FF2}"/>
    <dgm:cxn modelId="{0184A397-75EB-482B-A6A8-A16FE8F00A85}" srcId="{6FE92D77-6368-40CB-8BB8-669C93E891AC}" destId="{0F34F48C-A550-49B8-903B-86995D6EB001}" srcOrd="0" destOrd="0" parTransId="{4BB2AA9B-B9D5-47D8-8F19-842E4CD5A4B8}" sibTransId="{FCB1A2D1-DE04-4608-AE0C-A052FC98FF8B}"/>
    <dgm:cxn modelId="{838C4EA4-DD33-4B74-A4D6-EC0A8C98D09D}" srcId="{9EC1FAFD-5FAB-4221-A91F-18A3B53E2E72}" destId="{4B0D8409-55A8-498C-9275-76813F3817CA}" srcOrd="2" destOrd="0" parTransId="{C0DE512D-2354-4013-9A5F-D04C9FBEC1FD}" sibTransId="{16EA9326-F4B2-498C-AFDB-DB2196380386}"/>
    <dgm:cxn modelId="{4DB3F6A4-38CC-423F-8741-7B4D94594E7D}" type="presOf" srcId="{81587378-7368-466F-9B72-43169F6F0F38}" destId="{2A8833E1-3381-41E2-BAFD-62EA1AB8A370}" srcOrd="1" destOrd="0" presId="urn:microsoft.com/office/officeart/2016/7/layout/VerticalDownArrowProcess"/>
    <dgm:cxn modelId="{ACDFB8A8-BA58-4A22-87A3-8D005712092F}" srcId="{4B0D8409-55A8-498C-9275-76813F3817CA}" destId="{38D20F31-9967-4423-B354-4C019AE85601}" srcOrd="0" destOrd="0" parTransId="{9BA62F3C-7AA5-42AE-BC5A-9E91A870A61D}" sibTransId="{11E997F3-88F7-4448-B343-F5AD4BB028D4}"/>
    <dgm:cxn modelId="{B3B2C7AD-398B-45F3-913F-31EBE30EF915}" srcId="{9EC1FAFD-5FAB-4221-A91F-18A3B53E2E72}" destId="{81587378-7368-466F-9B72-43169F6F0F38}" srcOrd="1" destOrd="0" parTransId="{63636736-C408-4496-9B4B-B180D0C4DDFE}" sibTransId="{836BE037-4059-4C95-8FC3-E62E5AFC7F68}"/>
    <dgm:cxn modelId="{E6B398D2-E492-42E8-B171-67352BDA15AE}" srcId="{9EC1FAFD-5FAB-4221-A91F-18A3B53E2E72}" destId="{A16EE1AD-F62F-4EC8-B075-3D64340DA07A}" srcOrd="3" destOrd="0" parTransId="{EF667EB8-9332-4398-A22B-F03EFA296988}" sibTransId="{D24601C4-63A4-42BB-8786-EDD99C5557D0}"/>
    <dgm:cxn modelId="{AF46A3D2-E791-463A-B88D-C7A771153930}" srcId="{26A9F147-FFB5-40D7-BEE9-7C91B41AE3EE}" destId="{DB844DDC-6129-4ABC-81A2-E765A14FC9FB}" srcOrd="0" destOrd="0" parTransId="{416BB739-5DDC-44C4-946E-517F0F56B83F}" sibTransId="{B5AF7955-B1B5-4501-B5B1-1316E992EBEB}"/>
    <dgm:cxn modelId="{47A7ABE0-D7BB-4A8C-8991-28AB32CA39D5}" type="presOf" srcId="{A16EE1AD-F62F-4EC8-B075-3D64340DA07A}" destId="{C559054E-64DF-4344-B846-20B76110889D}" srcOrd="0" destOrd="0" presId="urn:microsoft.com/office/officeart/2016/7/layout/VerticalDownArrowProcess"/>
    <dgm:cxn modelId="{822366FF-121E-4F73-9812-1201AB0E20BA}" type="presOf" srcId="{3D1A4B44-F390-4928-A7A1-133C6B2802C8}" destId="{A91FFD47-A07C-49C0-BB13-678F7F07CCF1}" srcOrd="0" destOrd="0" presId="urn:microsoft.com/office/officeart/2016/7/layout/VerticalDownArrowProcess"/>
    <dgm:cxn modelId="{659006D5-D1BE-4AA0-BDA1-990033F4DECD}" type="presParOf" srcId="{BDFC4DE7-C2F3-412A-8B35-9C3E6D8415AD}" destId="{2DB6B27D-ACE0-4CE6-9F5D-F2B90C445405}" srcOrd="0" destOrd="0" presId="urn:microsoft.com/office/officeart/2016/7/layout/VerticalDownArrowProcess"/>
    <dgm:cxn modelId="{AC324ED0-2A15-4A02-BBFB-0EB1BDE64310}" type="presParOf" srcId="{2DB6B27D-ACE0-4CE6-9F5D-F2B90C445405}" destId="{A633C143-D754-412F-A3EF-553280136D69}" srcOrd="0" destOrd="0" presId="urn:microsoft.com/office/officeart/2016/7/layout/VerticalDownArrowProcess"/>
    <dgm:cxn modelId="{E914F582-84F7-4377-AC14-FC363609D29B}" type="presParOf" srcId="{2DB6B27D-ACE0-4CE6-9F5D-F2B90C445405}" destId="{444386FF-6FA2-467D-8D99-032624C0A1DF}" srcOrd="1" destOrd="0" presId="urn:microsoft.com/office/officeart/2016/7/layout/VerticalDownArrowProcess"/>
    <dgm:cxn modelId="{6D2B2C7F-0A6B-4BAD-8CE0-AF330F03B81C}" type="presParOf" srcId="{BDFC4DE7-C2F3-412A-8B35-9C3E6D8415AD}" destId="{5E040CA0-DBC7-40DA-BD7D-7716B217CB68}" srcOrd="1" destOrd="0" presId="urn:microsoft.com/office/officeart/2016/7/layout/VerticalDownArrowProcess"/>
    <dgm:cxn modelId="{5F4A7792-8F9E-4747-AADB-C357484298EA}" type="presParOf" srcId="{BDFC4DE7-C2F3-412A-8B35-9C3E6D8415AD}" destId="{866F8F86-FABE-43AF-B49B-011C69BD4CF5}" srcOrd="2" destOrd="0" presId="urn:microsoft.com/office/officeart/2016/7/layout/VerticalDownArrowProcess"/>
    <dgm:cxn modelId="{3CE1DC0D-9521-4BC9-BB5A-89922A6892CE}" type="presParOf" srcId="{866F8F86-FABE-43AF-B49B-011C69BD4CF5}" destId="{8E4B646B-1E25-41D9-87FA-F3E5888E8377}" srcOrd="0" destOrd="0" presId="urn:microsoft.com/office/officeart/2016/7/layout/VerticalDownArrowProcess"/>
    <dgm:cxn modelId="{2D846F95-3448-44DE-8525-394C22FB6CC9}" type="presParOf" srcId="{866F8F86-FABE-43AF-B49B-011C69BD4CF5}" destId="{F7F700F7-FFC6-47E6-B2A6-F1E2BA14F45E}" srcOrd="1" destOrd="0" presId="urn:microsoft.com/office/officeart/2016/7/layout/VerticalDownArrowProcess"/>
    <dgm:cxn modelId="{11098943-2AF4-4C47-8A0E-410391E346A9}" type="presParOf" srcId="{866F8F86-FABE-43AF-B49B-011C69BD4CF5}" destId="{8BDD0526-5732-4575-875D-AA10FC8BF1EE}" srcOrd="2" destOrd="0" presId="urn:microsoft.com/office/officeart/2016/7/layout/VerticalDownArrowProcess"/>
    <dgm:cxn modelId="{C7FE5FB0-7E43-430A-BDDD-0AB201033709}" type="presParOf" srcId="{BDFC4DE7-C2F3-412A-8B35-9C3E6D8415AD}" destId="{7A56642E-1EC5-4F0C-B696-C6AC309824AD}" srcOrd="3" destOrd="0" presId="urn:microsoft.com/office/officeart/2016/7/layout/VerticalDownArrowProcess"/>
    <dgm:cxn modelId="{9D11AF47-B964-47EA-A862-F191E19E4304}" type="presParOf" srcId="{BDFC4DE7-C2F3-412A-8B35-9C3E6D8415AD}" destId="{4FF13A6C-3F33-4A05-A282-3A21A3E6675C}" srcOrd="4" destOrd="0" presId="urn:microsoft.com/office/officeart/2016/7/layout/VerticalDownArrowProcess"/>
    <dgm:cxn modelId="{CE4769A6-3112-4C1B-8113-4E87AB86E52A}" type="presParOf" srcId="{4FF13A6C-3F33-4A05-A282-3A21A3E6675C}" destId="{C559054E-64DF-4344-B846-20B76110889D}" srcOrd="0" destOrd="0" presId="urn:microsoft.com/office/officeart/2016/7/layout/VerticalDownArrowProcess"/>
    <dgm:cxn modelId="{74D8E782-B076-45E4-BB9F-5AAE224CDDEA}" type="presParOf" srcId="{4FF13A6C-3F33-4A05-A282-3A21A3E6675C}" destId="{30A9B216-CBA0-453D-84BF-88C2301BF88B}" srcOrd="1" destOrd="0" presId="urn:microsoft.com/office/officeart/2016/7/layout/VerticalDownArrowProcess"/>
    <dgm:cxn modelId="{5EB1D850-C940-4F44-BAD6-352A798AA7D1}" type="presParOf" srcId="{4FF13A6C-3F33-4A05-A282-3A21A3E6675C}" destId="{453622B5-00E2-413A-8EA2-2896FA97222B}" srcOrd="2" destOrd="0" presId="urn:microsoft.com/office/officeart/2016/7/layout/VerticalDownArrowProcess"/>
    <dgm:cxn modelId="{997BA5FC-EED0-4771-8B6F-5AF76874505F}" type="presParOf" srcId="{BDFC4DE7-C2F3-412A-8B35-9C3E6D8415AD}" destId="{043DBC09-C832-414E-B320-B94F3E1EBD8A}" srcOrd="5" destOrd="0" presId="urn:microsoft.com/office/officeart/2016/7/layout/VerticalDownArrowProcess"/>
    <dgm:cxn modelId="{378C9A76-EEC8-400F-BB15-9E549B779CA8}" type="presParOf" srcId="{BDFC4DE7-C2F3-412A-8B35-9C3E6D8415AD}" destId="{928FAD6D-5E04-4B8A-BFB7-0B7942BBDD7A}" srcOrd="6" destOrd="0" presId="urn:microsoft.com/office/officeart/2016/7/layout/VerticalDownArrowProcess"/>
    <dgm:cxn modelId="{ABB49FFD-3384-43FA-A20E-08E85EC719D8}" type="presParOf" srcId="{928FAD6D-5E04-4B8A-BFB7-0B7942BBDD7A}" destId="{3AA702A0-480D-4C44-822D-797D681D8B52}" srcOrd="0" destOrd="0" presId="urn:microsoft.com/office/officeart/2016/7/layout/VerticalDownArrowProcess"/>
    <dgm:cxn modelId="{5A56505E-C408-4EC9-9408-9C11F1D62FB2}" type="presParOf" srcId="{928FAD6D-5E04-4B8A-BFB7-0B7942BBDD7A}" destId="{FD6D2EDF-02A3-425F-93C7-659532CF7DC7}" srcOrd="1" destOrd="0" presId="urn:microsoft.com/office/officeart/2016/7/layout/VerticalDownArrowProcess"/>
    <dgm:cxn modelId="{D9BE85BB-56D0-44B5-B45F-D542AAFCB724}" type="presParOf" srcId="{928FAD6D-5E04-4B8A-BFB7-0B7942BBDD7A}" destId="{FBF9D00E-DCF8-49CB-B755-BCB8A54BC3C8}" srcOrd="2" destOrd="0" presId="urn:microsoft.com/office/officeart/2016/7/layout/VerticalDownArrowProcess"/>
    <dgm:cxn modelId="{1ECDA947-2C19-4500-A547-1147369450DB}" type="presParOf" srcId="{BDFC4DE7-C2F3-412A-8B35-9C3E6D8415AD}" destId="{4400AD55-6300-4C42-AEA7-4CA2D2FE3AC2}" srcOrd="7" destOrd="0" presId="urn:microsoft.com/office/officeart/2016/7/layout/VerticalDownArrowProcess"/>
    <dgm:cxn modelId="{4386FBCF-1E1C-438F-8740-C9CC2D3B54EC}" type="presParOf" srcId="{BDFC4DE7-C2F3-412A-8B35-9C3E6D8415AD}" destId="{2470EB8C-05B7-4683-B8E1-46707725DF61}" srcOrd="8" destOrd="0" presId="urn:microsoft.com/office/officeart/2016/7/layout/VerticalDownArrowProcess"/>
    <dgm:cxn modelId="{0EFAC319-FF2F-4DF6-8FAB-6BEDA5F52CD8}" type="presParOf" srcId="{2470EB8C-05B7-4683-B8E1-46707725DF61}" destId="{1F28675D-3AF1-42F8-80EB-D55E35F773E0}" srcOrd="0" destOrd="0" presId="urn:microsoft.com/office/officeart/2016/7/layout/VerticalDownArrowProcess"/>
    <dgm:cxn modelId="{D5488FF5-2AFB-4352-8A91-AF613CC1D450}" type="presParOf" srcId="{2470EB8C-05B7-4683-B8E1-46707725DF61}" destId="{2A8833E1-3381-41E2-BAFD-62EA1AB8A370}" srcOrd="1" destOrd="0" presId="urn:microsoft.com/office/officeart/2016/7/layout/VerticalDownArrowProcess"/>
    <dgm:cxn modelId="{6390A0CF-DD63-488D-BF90-6925809BB2FC}" type="presParOf" srcId="{2470EB8C-05B7-4683-B8E1-46707725DF61}" destId="{A91FFD47-A07C-49C0-BB13-678F7F07CCF1}" srcOrd="2" destOrd="0" presId="urn:microsoft.com/office/officeart/2016/7/layout/VerticalDownArrowProcess"/>
    <dgm:cxn modelId="{24E38CB1-B392-4A46-A00E-4890BDDCEC38}" type="presParOf" srcId="{BDFC4DE7-C2F3-412A-8B35-9C3E6D8415AD}" destId="{7708F11D-97B7-4326-AB8A-1253536B0C71}" srcOrd="9" destOrd="0" presId="urn:microsoft.com/office/officeart/2016/7/layout/VerticalDownArrowProcess"/>
    <dgm:cxn modelId="{CBF43872-BC5D-4F48-9270-A34992D640F4}" type="presParOf" srcId="{BDFC4DE7-C2F3-412A-8B35-9C3E6D8415AD}" destId="{60F26D6E-2900-40DA-8B2B-0531BA68FC55}" srcOrd="10" destOrd="0" presId="urn:microsoft.com/office/officeart/2016/7/layout/VerticalDownArrowProcess"/>
    <dgm:cxn modelId="{C21E579A-1FFA-4555-80F9-9D25DC104477}" type="presParOf" srcId="{60F26D6E-2900-40DA-8B2B-0531BA68FC55}" destId="{8A26C1C0-806F-4E3D-839D-5822E1B96417}" srcOrd="0" destOrd="0" presId="urn:microsoft.com/office/officeart/2016/7/layout/VerticalDownArrowProcess"/>
    <dgm:cxn modelId="{9DEF5E4F-BF73-43B1-8F59-00E4F97DA322}" type="presParOf" srcId="{60F26D6E-2900-40DA-8B2B-0531BA68FC55}" destId="{FE35DFC9-465D-4107-813F-71D98950F785}" srcOrd="1" destOrd="0" presId="urn:microsoft.com/office/officeart/2016/7/layout/VerticalDownArrowProcess"/>
    <dgm:cxn modelId="{94662AC3-F50F-4A94-8E6B-8333DE255071}" type="presParOf" srcId="{60F26D6E-2900-40DA-8B2B-0531BA68FC55}" destId="{1046637E-4512-4E46-B39F-F96226FD2C17}" srcOrd="2" destOrd="0" presId="urn:microsoft.com/office/officeart/2016/7/layout/VerticalDown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1871722-4642-42BC-BFD5-6A4DA6491825}"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D2A5DCB6-BB08-49A4-953C-6DBDADDE4AD4}">
      <dgm:prSet/>
      <dgm:spPr/>
      <dgm:t>
        <a:bodyPr/>
        <a:lstStyle/>
        <a:p>
          <a:r>
            <a:rPr lang="en-US" baseline="0" dirty="0"/>
            <a:t>Listing (Contact Me)</a:t>
          </a:r>
          <a:endParaRPr lang="en-US" dirty="0"/>
        </a:p>
      </dgm:t>
    </dgm:pt>
    <dgm:pt modelId="{C407147A-426B-4EC6-88D0-F121120D47E4}" type="parTrans" cxnId="{1C4DC44E-B244-4832-BB7D-59BD30A57F33}">
      <dgm:prSet/>
      <dgm:spPr/>
      <dgm:t>
        <a:bodyPr/>
        <a:lstStyle/>
        <a:p>
          <a:endParaRPr lang="en-US"/>
        </a:p>
      </dgm:t>
    </dgm:pt>
    <dgm:pt modelId="{7F8FD042-B4DB-4BD3-B226-CF843BE615E1}" type="sibTrans" cxnId="{1C4DC44E-B244-4832-BB7D-59BD30A57F33}">
      <dgm:prSet/>
      <dgm:spPr/>
      <dgm:t>
        <a:bodyPr/>
        <a:lstStyle/>
        <a:p>
          <a:endParaRPr lang="en-US"/>
        </a:p>
      </dgm:t>
    </dgm:pt>
    <dgm:pt modelId="{240D06BF-47B2-42F2-ADEB-D7C9C2BA6899}">
      <dgm:prSet/>
      <dgm:spPr/>
      <dgm:t>
        <a:bodyPr/>
        <a:lstStyle/>
        <a:p>
          <a:r>
            <a:rPr lang="en-US" baseline="0" dirty="0"/>
            <a:t>Free Trial</a:t>
          </a:r>
          <a:endParaRPr lang="en-US" dirty="0"/>
        </a:p>
      </dgm:t>
    </dgm:pt>
    <dgm:pt modelId="{3B8B3605-18A2-4896-B60D-CB3E122401A8}" type="parTrans" cxnId="{CFE28584-C80A-47D9-9A21-4969900EE99F}">
      <dgm:prSet/>
      <dgm:spPr/>
      <dgm:t>
        <a:bodyPr/>
        <a:lstStyle/>
        <a:p>
          <a:endParaRPr lang="en-US"/>
        </a:p>
      </dgm:t>
    </dgm:pt>
    <dgm:pt modelId="{99CBEB9A-6148-413B-8198-55FDC01F6E43}" type="sibTrans" cxnId="{CFE28584-C80A-47D9-9A21-4969900EE99F}">
      <dgm:prSet/>
      <dgm:spPr/>
      <dgm:t>
        <a:bodyPr/>
        <a:lstStyle/>
        <a:p>
          <a:endParaRPr lang="en-US"/>
        </a:p>
      </dgm:t>
    </dgm:pt>
    <dgm:pt modelId="{A1AD1ED0-5194-43A6-9E46-35606A0CB0AD}">
      <dgm:prSet/>
      <dgm:spPr/>
      <dgm:t>
        <a:bodyPr/>
        <a:lstStyle/>
        <a:p>
          <a:r>
            <a:rPr lang="en-US" baseline="0" dirty="0"/>
            <a:t>Bring Your Own License (BYOL) - Get it Now</a:t>
          </a:r>
          <a:endParaRPr lang="en-US" dirty="0"/>
        </a:p>
      </dgm:t>
    </dgm:pt>
    <dgm:pt modelId="{EC0537D4-ABB1-43C0-92B2-3B82FF23BF41}" type="parTrans" cxnId="{A4B7BFE5-85E4-4FC4-871F-400D53FE9A5A}">
      <dgm:prSet/>
      <dgm:spPr/>
      <dgm:t>
        <a:bodyPr/>
        <a:lstStyle/>
        <a:p>
          <a:endParaRPr lang="en-US"/>
        </a:p>
      </dgm:t>
    </dgm:pt>
    <dgm:pt modelId="{A3D30740-F840-4833-BA5F-6500050085F4}" type="sibTrans" cxnId="{A4B7BFE5-85E4-4FC4-871F-400D53FE9A5A}">
      <dgm:prSet/>
      <dgm:spPr/>
      <dgm:t>
        <a:bodyPr/>
        <a:lstStyle/>
        <a:p>
          <a:endParaRPr lang="en-US"/>
        </a:p>
      </dgm:t>
    </dgm:pt>
    <dgm:pt modelId="{E7A1EB73-FF9B-47C9-B163-6176C8E125C2}">
      <dgm:prSet/>
      <dgm:spPr/>
      <dgm:t>
        <a:bodyPr/>
        <a:lstStyle/>
        <a:p>
          <a:r>
            <a:rPr lang="en-US" baseline="0" dirty="0"/>
            <a:t>Transaction – Get it Now</a:t>
          </a:r>
          <a:endParaRPr lang="en-US" dirty="0"/>
        </a:p>
      </dgm:t>
    </dgm:pt>
    <dgm:pt modelId="{F809A223-9D91-406A-AE84-A6B960FEB988}" type="parTrans" cxnId="{EF2BB284-3088-477D-8C59-970A29A19E60}">
      <dgm:prSet/>
      <dgm:spPr/>
      <dgm:t>
        <a:bodyPr/>
        <a:lstStyle/>
        <a:p>
          <a:endParaRPr lang="en-US"/>
        </a:p>
      </dgm:t>
    </dgm:pt>
    <dgm:pt modelId="{C5B97D50-9AC3-4562-B943-FD5AB23DD662}" type="sibTrans" cxnId="{EF2BB284-3088-477D-8C59-970A29A19E60}">
      <dgm:prSet/>
      <dgm:spPr/>
      <dgm:t>
        <a:bodyPr/>
        <a:lstStyle/>
        <a:p>
          <a:endParaRPr lang="en-US"/>
        </a:p>
      </dgm:t>
    </dgm:pt>
    <dgm:pt modelId="{973D38B8-62A7-4F00-AD4A-3C31A83F6301}">
      <dgm:prSet/>
      <dgm:spPr/>
      <dgm:t>
        <a:bodyPr/>
        <a:lstStyle/>
        <a:p>
          <a:r>
            <a:rPr lang="en-US" baseline="0" dirty="0"/>
            <a:t>Bill to Microsoft account</a:t>
          </a:r>
          <a:endParaRPr lang="en-US" dirty="0"/>
        </a:p>
      </dgm:t>
    </dgm:pt>
    <dgm:pt modelId="{AF7E8A44-FD78-477E-849C-6149E4B69D48}" type="parTrans" cxnId="{A83296DE-7772-42A6-8992-AD07EDB0B89A}">
      <dgm:prSet/>
      <dgm:spPr/>
      <dgm:t>
        <a:bodyPr/>
        <a:lstStyle/>
        <a:p>
          <a:endParaRPr lang="en-US"/>
        </a:p>
      </dgm:t>
    </dgm:pt>
    <dgm:pt modelId="{948880C4-C8A8-403D-AC2F-BFDE2483A9FC}" type="sibTrans" cxnId="{A83296DE-7772-42A6-8992-AD07EDB0B89A}">
      <dgm:prSet/>
      <dgm:spPr/>
      <dgm:t>
        <a:bodyPr/>
        <a:lstStyle/>
        <a:p>
          <a:endParaRPr lang="en-US"/>
        </a:p>
      </dgm:t>
    </dgm:pt>
    <dgm:pt modelId="{D7BF4A5F-4192-4460-B4C6-8F8C65C78EBF}">
      <dgm:prSet/>
      <dgm:spPr/>
      <dgm:t>
        <a:bodyPr/>
        <a:lstStyle/>
        <a:p>
          <a:r>
            <a:rPr lang="en-US" baseline="0" dirty="0"/>
            <a:t>Process with credit card</a:t>
          </a:r>
          <a:endParaRPr lang="en-US" dirty="0"/>
        </a:p>
      </dgm:t>
    </dgm:pt>
    <dgm:pt modelId="{F00F08BE-6411-4BB5-ACB6-CEE40716B337}" type="parTrans" cxnId="{7BB0BCDB-4CF1-4C5B-9F3C-0744186E443C}">
      <dgm:prSet/>
      <dgm:spPr/>
      <dgm:t>
        <a:bodyPr/>
        <a:lstStyle/>
        <a:p>
          <a:endParaRPr lang="en-US"/>
        </a:p>
      </dgm:t>
    </dgm:pt>
    <dgm:pt modelId="{02A54E37-F324-49F5-91C4-F46FD2F304FB}" type="sibTrans" cxnId="{7BB0BCDB-4CF1-4C5B-9F3C-0744186E443C}">
      <dgm:prSet/>
      <dgm:spPr/>
      <dgm:t>
        <a:bodyPr/>
        <a:lstStyle/>
        <a:p>
          <a:endParaRPr lang="en-US"/>
        </a:p>
      </dgm:t>
    </dgm:pt>
    <dgm:pt modelId="{CC5C7731-77BD-49B9-AF7D-3C5ED56F7C62}">
      <dgm:prSet phldr="0"/>
      <dgm:spPr/>
      <dgm:t>
        <a:bodyPr/>
        <a:lstStyle/>
        <a:p>
          <a:pPr rtl="0"/>
          <a:r>
            <a:rPr lang="en-US" baseline="0" dirty="0">
              <a:latin typeface="Segoe UI Semibold"/>
            </a:rPr>
            <a:t>Link to provider CRM</a:t>
          </a:r>
        </a:p>
      </dgm:t>
    </dgm:pt>
    <dgm:pt modelId="{87A64DC1-3CB5-4BB8-BCD6-E44847DF6509}" type="parTrans" cxnId="{E0FD4A40-07FA-4D93-B013-A05E5C75C20A}">
      <dgm:prSet/>
      <dgm:spPr/>
    </dgm:pt>
    <dgm:pt modelId="{8AFACC6E-E8C9-4097-ADBD-1F2F98692004}" type="sibTrans" cxnId="{E0FD4A40-07FA-4D93-B013-A05E5C75C20A}">
      <dgm:prSet/>
      <dgm:spPr/>
    </dgm:pt>
    <dgm:pt modelId="{E78F2ECD-0C8E-4652-AD1D-4654CAE62D38}">
      <dgm:prSet phldr="0"/>
      <dgm:spPr/>
      <dgm:t>
        <a:bodyPr/>
        <a:lstStyle/>
        <a:p>
          <a:pPr rtl="0"/>
          <a:r>
            <a:rPr lang="en-US" baseline="0" dirty="0">
              <a:latin typeface="Segoe UI Semibold"/>
            </a:rPr>
            <a:t>Reach out to interested customers</a:t>
          </a:r>
        </a:p>
      </dgm:t>
    </dgm:pt>
    <dgm:pt modelId="{7DD9F3B9-6338-433D-9515-45C705AB70EB}" type="parTrans" cxnId="{E5D068DA-59B5-4D53-B831-FC4FF5F9DC56}">
      <dgm:prSet/>
      <dgm:spPr/>
    </dgm:pt>
    <dgm:pt modelId="{5698C38E-7AEB-439D-96D8-2AB75978689A}" type="sibTrans" cxnId="{E5D068DA-59B5-4D53-B831-FC4FF5F9DC56}">
      <dgm:prSet/>
      <dgm:spPr/>
    </dgm:pt>
    <dgm:pt modelId="{B58EC602-D6BB-469D-AAC5-C7C4F5543C79}">
      <dgm:prSet phldr="0"/>
      <dgm:spPr/>
      <dgm:t>
        <a:bodyPr/>
        <a:lstStyle/>
        <a:p>
          <a:pPr rtl="0"/>
          <a:r>
            <a:rPr lang="en-US" baseline="0" dirty="0">
              <a:latin typeface="Segoe UI Semibold"/>
            </a:rPr>
            <a:t>Try before you buy</a:t>
          </a:r>
        </a:p>
      </dgm:t>
    </dgm:pt>
    <dgm:pt modelId="{9E197DFF-63E4-4D88-A5EC-10DD3BA704FE}" type="parTrans" cxnId="{9C385AB6-3AF2-4961-B057-189C84B82581}">
      <dgm:prSet/>
      <dgm:spPr/>
    </dgm:pt>
    <dgm:pt modelId="{8D682D1E-A2A3-4D3D-9D35-4AA5D6F9FD71}" type="sibTrans" cxnId="{9C385AB6-3AF2-4961-B057-189C84B82581}">
      <dgm:prSet/>
      <dgm:spPr/>
    </dgm:pt>
    <dgm:pt modelId="{28C1DDD4-CAED-4C70-956B-23FBEF673526}">
      <dgm:prSet phldr="0"/>
      <dgm:spPr/>
      <dgm:t>
        <a:bodyPr/>
        <a:lstStyle/>
        <a:p>
          <a:pPr rtl="0"/>
          <a:r>
            <a:rPr lang="en-US" baseline="0" dirty="0">
              <a:latin typeface="Segoe UI Semibold"/>
            </a:rPr>
            <a:t>Test drive software</a:t>
          </a:r>
        </a:p>
      </dgm:t>
    </dgm:pt>
    <dgm:pt modelId="{238EE6C8-1850-4798-8CD1-0F8D45E37C4A}" type="parTrans" cxnId="{6F48E2DA-9C77-456C-AFC6-025F4954C400}">
      <dgm:prSet/>
      <dgm:spPr/>
    </dgm:pt>
    <dgm:pt modelId="{BC1086D8-4B96-4678-924F-FDBC7E7F5608}" type="sibTrans" cxnId="{6F48E2DA-9C77-456C-AFC6-025F4954C400}">
      <dgm:prSet/>
      <dgm:spPr/>
    </dgm:pt>
    <dgm:pt modelId="{FE64AB79-AE87-4723-B7D7-50A55742C402}">
      <dgm:prSet phldr="0"/>
      <dgm:spPr/>
      <dgm:t>
        <a:bodyPr/>
        <a:lstStyle/>
        <a:p>
          <a:pPr rtl="0"/>
          <a:r>
            <a:rPr lang="en-US" b="1" baseline="0" dirty="0">
              <a:latin typeface="Segoe UI Semibold"/>
            </a:rPr>
            <a:t>Use current license</a:t>
          </a:r>
        </a:p>
      </dgm:t>
    </dgm:pt>
    <dgm:pt modelId="{2A938D1B-CBA6-4D23-96AF-C8EA9A688F56}" type="parTrans" cxnId="{E55AAB74-AE51-4DB1-9A19-EE659C7F5AC3}">
      <dgm:prSet/>
      <dgm:spPr/>
    </dgm:pt>
    <dgm:pt modelId="{6073A497-613E-4E6B-935C-6397B80CAA7A}" type="sibTrans" cxnId="{E55AAB74-AE51-4DB1-9A19-EE659C7F5AC3}">
      <dgm:prSet/>
      <dgm:spPr/>
    </dgm:pt>
    <dgm:pt modelId="{FFF24C88-2870-4620-8653-F50BCD5BDC67}">
      <dgm:prSet phldr="0"/>
      <dgm:spPr/>
      <dgm:t>
        <a:bodyPr/>
        <a:lstStyle/>
        <a:p>
          <a:pPr rtl="0"/>
          <a:r>
            <a:rPr lang="en-US" b="1" baseline="0" dirty="0">
              <a:latin typeface="Segoe UI Semibold"/>
            </a:rPr>
            <a:t>Protects your existing investment in software</a:t>
          </a:r>
        </a:p>
      </dgm:t>
    </dgm:pt>
    <dgm:pt modelId="{CE15191D-D5C4-4FD5-94A3-ADBCBBB92245}" type="parTrans" cxnId="{22EBFAF7-6A14-442E-9E9A-D918C3FB62F0}">
      <dgm:prSet/>
      <dgm:spPr/>
    </dgm:pt>
    <dgm:pt modelId="{AC125F09-66A1-41F8-80D5-3835E26E36FC}" type="sibTrans" cxnId="{22EBFAF7-6A14-442E-9E9A-D918C3FB62F0}">
      <dgm:prSet/>
      <dgm:spPr/>
    </dgm:pt>
    <dgm:pt modelId="{8693F1E6-E796-42A2-95AC-E1DECB27DDFF}" type="pres">
      <dgm:prSet presAssocID="{21871722-4642-42BC-BFD5-6A4DA6491825}" presName="Name0" presStyleCnt="0">
        <dgm:presLayoutVars>
          <dgm:dir/>
          <dgm:animLvl val="lvl"/>
          <dgm:resizeHandles val="exact"/>
        </dgm:presLayoutVars>
      </dgm:prSet>
      <dgm:spPr/>
    </dgm:pt>
    <dgm:pt modelId="{F56F38AF-A1D2-4B33-8531-C4AB80A1D8F4}" type="pres">
      <dgm:prSet presAssocID="{D2A5DCB6-BB08-49A4-953C-6DBDADDE4AD4}" presName="composite" presStyleCnt="0"/>
      <dgm:spPr/>
    </dgm:pt>
    <dgm:pt modelId="{2A3850E2-929E-488A-9605-C1657D549A18}" type="pres">
      <dgm:prSet presAssocID="{D2A5DCB6-BB08-49A4-953C-6DBDADDE4AD4}" presName="parTx" presStyleLbl="alignNode1" presStyleIdx="0" presStyleCnt="4">
        <dgm:presLayoutVars>
          <dgm:chMax val="0"/>
          <dgm:chPref val="0"/>
          <dgm:bulletEnabled val="1"/>
        </dgm:presLayoutVars>
      </dgm:prSet>
      <dgm:spPr/>
    </dgm:pt>
    <dgm:pt modelId="{AB8FACBB-E97E-41EB-8C6A-C350395CD957}" type="pres">
      <dgm:prSet presAssocID="{D2A5DCB6-BB08-49A4-953C-6DBDADDE4AD4}" presName="desTx" presStyleLbl="alignAccFollowNode1" presStyleIdx="0" presStyleCnt="4">
        <dgm:presLayoutVars>
          <dgm:bulletEnabled val="1"/>
        </dgm:presLayoutVars>
      </dgm:prSet>
      <dgm:spPr/>
    </dgm:pt>
    <dgm:pt modelId="{6D57947F-6965-4DDD-A49B-EAD685C34CD0}" type="pres">
      <dgm:prSet presAssocID="{7F8FD042-B4DB-4BD3-B226-CF843BE615E1}" presName="space" presStyleCnt="0"/>
      <dgm:spPr/>
    </dgm:pt>
    <dgm:pt modelId="{0F4AEC24-02BF-4AF3-BBE7-536BB2F04366}" type="pres">
      <dgm:prSet presAssocID="{240D06BF-47B2-42F2-ADEB-D7C9C2BA6899}" presName="composite" presStyleCnt="0"/>
      <dgm:spPr/>
    </dgm:pt>
    <dgm:pt modelId="{9A32E3FC-5173-4CF0-938C-BAE1C2FA68BD}" type="pres">
      <dgm:prSet presAssocID="{240D06BF-47B2-42F2-ADEB-D7C9C2BA6899}" presName="parTx" presStyleLbl="alignNode1" presStyleIdx="1" presStyleCnt="4">
        <dgm:presLayoutVars>
          <dgm:chMax val="0"/>
          <dgm:chPref val="0"/>
          <dgm:bulletEnabled val="1"/>
        </dgm:presLayoutVars>
      </dgm:prSet>
      <dgm:spPr/>
    </dgm:pt>
    <dgm:pt modelId="{3A6D7D2E-32EC-431A-9BEC-9ACDB58173E0}" type="pres">
      <dgm:prSet presAssocID="{240D06BF-47B2-42F2-ADEB-D7C9C2BA6899}" presName="desTx" presStyleLbl="alignAccFollowNode1" presStyleIdx="1" presStyleCnt="4">
        <dgm:presLayoutVars>
          <dgm:bulletEnabled val="1"/>
        </dgm:presLayoutVars>
      </dgm:prSet>
      <dgm:spPr/>
    </dgm:pt>
    <dgm:pt modelId="{6E846282-1EAB-412C-AEF5-E5B5DF64BD92}" type="pres">
      <dgm:prSet presAssocID="{99CBEB9A-6148-413B-8198-55FDC01F6E43}" presName="space" presStyleCnt="0"/>
      <dgm:spPr/>
    </dgm:pt>
    <dgm:pt modelId="{E2BB5B61-AE79-4B78-A8F5-7268D00AB09A}" type="pres">
      <dgm:prSet presAssocID="{A1AD1ED0-5194-43A6-9E46-35606A0CB0AD}" presName="composite" presStyleCnt="0"/>
      <dgm:spPr/>
    </dgm:pt>
    <dgm:pt modelId="{9731D488-8C25-4065-9D60-5FDE7ACC2F20}" type="pres">
      <dgm:prSet presAssocID="{A1AD1ED0-5194-43A6-9E46-35606A0CB0AD}" presName="parTx" presStyleLbl="alignNode1" presStyleIdx="2" presStyleCnt="4">
        <dgm:presLayoutVars>
          <dgm:chMax val="0"/>
          <dgm:chPref val="0"/>
          <dgm:bulletEnabled val="1"/>
        </dgm:presLayoutVars>
      </dgm:prSet>
      <dgm:spPr/>
    </dgm:pt>
    <dgm:pt modelId="{297D5F6F-8DDB-4106-AB89-49221CB02FB9}" type="pres">
      <dgm:prSet presAssocID="{A1AD1ED0-5194-43A6-9E46-35606A0CB0AD}" presName="desTx" presStyleLbl="alignAccFollowNode1" presStyleIdx="2" presStyleCnt="4">
        <dgm:presLayoutVars>
          <dgm:bulletEnabled val="1"/>
        </dgm:presLayoutVars>
      </dgm:prSet>
      <dgm:spPr/>
    </dgm:pt>
    <dgm:pt modelId="{322BEBB5-29FF-4CE4-9755-FE1442630600}" type="pres">
      <dgm:prSet presAssocID="{A3D30740-F840-4833-BA5F-6500050085F4}" presName="space" presStyleCnt="0"/>
      <dgm:spPr/>
    </dgm:pt>
    <dgm:pt modelId="{824A1D67-B9C9-419F-8CBC-C020C9305F9F}" type="pres">
      <dgm:prSet presAssocID="{E7A1EB73-FF9B-47C9-B163-6176C8E125C2}" presName="composite" presStyleCnt="0"/>
      <dgm:spPr/>
    </dgm:pt>
    <dgm:pt modelId="{F5243D60-1C94-45AA-94F1-D458C71FB891}" type="pres">
      <dgm:prSet presAssocID="{E7A1EB73-FF9B-47C9-B163-6176C8E125C2}" presName="parTx" presStyleLbl="alignNode1" presStyleIdx="3" presStyleCnt="4">
        <dgm:presLayoutVars>
          <dgm:chMax val="0"/>
          <dgm:chPref val="0"/>
          <dgm:bulletEnabled val="1"/>
        </dgm:presLayoutVars>
      </dgm:prSet>
      <dgm:spPr/>
    </dgm:pt>
    <dgm:pt modelId="{F86356BB-9F14-4608-ADBF-E7A84CB1978C}" type="pres">
      <dgm:prSet presAssocID="{E7A1EB73-FF9B-47C9-B163-6176C8E125C2}" presName="desTx" presStyleLbl="alignAccFollowNode1" presStyleIdx="3" presStyleCnt="4">
        <dgm:presLayoutVars>
          <dgm:bulletEnabled val="1"/>
        </dgm:presLayoutVars>
      </dgm:prSet>
      <dgm:spPr/>
    </dgm:pt>
  </dgm:ptLst>
  <dgm:cxnLst>
    <dgm:cxn modelId="{FBD23501-09B8-48E8-8C88-22F85ADB059C}" type="presOf" srcId="{E7A1EB73-FF9B-47C9-B163-6176C8E125C2}" destId="{F5243D60-1C94-45AA-94F1-D458C71FB891}" srcOrd="0" destOrd="0" presId="urn:microsoft.com/office/officeart/2005/8/layout/hList1"/>
    <dgm:cxn modelId="{0E450218-D86D-47D5-BF72-1BC186370BE0}" type="presOf" srcId="{D2A5DCB6-BB08-49A4-953C-6DBDADDE4AD4}" destId="{2A3850E2-929E-488A-9605-C1657D549A18}" srcOrd="0" destOrd="0" presId="urn:microsoft.com/office/officeart/2005/8/layout/hList1"/>
    <dgm:cxn modelId="{99223632-47F7-40D6-B00B-3528AF137C21}" type="presOf" srcId="{28C1DDD4-CAED-4C70-956B-23FBEF673526}" destId="{3A6D7D2E-32EC-431A-9BEC-9ACDB58173E0}" srcOrd="0" destOrd="1" presId="urn:microsoft.com/office/officeart/2005/8/layout/hList1"/>
    <dgm:cxn modelId="{7DD46132-1BC4-485E-BF06-4B2B8AB43C46}" type="presOf" srcId="{FE64AB79-AE87-4723-B7D7-50A55742C402}" destId="{297D5F6F-8DDB-4106-AB89-49221CB02FB9}" srcOrd="0" destOrd="0" presId="urn:microsoft.com/office/officeart/2005/8/layout/hList1"/>
    <dgm:cxn modelId="{E0FD4A40-07FA-4D93-B013-A05E5C75C20A}" srcId="{D2A5DCB6-BB08-49A4-953C-6DBDADDE4AD4}" destId="{CC5C7731-77BD-49B9-AF7D-3C5ED56F7C62}" srcOrd="0" destOrd="0" parTransId="{87A64DC1-3CB5-4BB8-BCD6-E44847DF6509}" sibTransId="{8AFACC6E-E8C9-4097-ADBD-1F2F98692004}"/>
    <dgm:cxn modelId="{327CAD5C-E078-4EB5-8985-BB8EEE7953D5}" type="presOf" srcId="{B58EC602-D6BB-469D-AAC5-C7C4F5543C79}" destId="{3A6D7D2E-32EC-431A-9BEC-9ACDB58173E0}" srcOrd="0" destOrd="0" presId="urn:microsoft.com/office/officeart/2005/8/layout/hList1"/>
    <dgm:cxn modelId="{1C4DC44E-B244-4832-BB7D-59BD30A57F33}" srcId="{21871722-4642-42BC-BFD5-6A4DA6491825}" destId="{D2A5DCB6-BB08-49A4-953C-6DBDADDE4AD4}" srcOrd="0" destOrd="0" parTransId="{C407147A-426B-4EC6-88D0-F121120D47E4}" sibTransId="{7F8FD042-B4DB-4BD3-B226-CF843BE615E1}"/>
    <dgm:cxn modelId="{E55AAB74-AE51-4DB1-9A19-EE659C7F5AC3}" srcId="{A1AD1ED0-5194-43A6-9E46-35606A0CB0AD}" destId="{FE64AB79-AE87-4723-B7D7-50A55742C402}" srcOrd="0" destOrd="0" parTransId="{2A938D1B-CBA6-4D23-96AF-C8EA9A688F56}" sibTransId="{6073A497-613E-4E6B-935C-6397B80CAA7A}"/>
    <dgm:cxn modelId="{C98D2B7F-951B-4F59-B2EF-B6CDE25DDE64}" type="presOf" srcId="{FFF24C88-2870-4620-8653-F50BCD5BDC67}" destId="{297D5F6F-8DDB-4106-AB89-49221CB02FB9}" srcOrd="0" destOrd="1" presId="urn:microsoft.com/office/officeart/2005/8/layout/hList1"/>
    <dgm:cxn modelId="{AC5D8584-38C3-452C-BED3-0688BC90D78C}" type="presOf" srcId="{D7BF4A5F-4192-4460-B4C6-8F8C65C78EBF}" destId="{F86356BB-9F14-4608-ADBF-E7A84CB1978C}" srcOrd="0" destOrd="1" presId="urn:microsoft.com/office/officeart/2005/8/layout/hList1"/>
    <dgm:cxn modelId="{CFE28584-C80A-47D9-9A21-4969900EE99F}" srcId="{21871722-4642-42BC-BFD5-6A4DA6491825}" destId="{240D06BF-47B2-42F2-ADEB-D7C9C2BA6899}" srcOrd="1" destOrd="0" parTransId="{3B8B3605-18A2-4896-B60D-CB3E122401A8}" sibTransId="{99CBEB9A-6148-413B-8198-55FDC01F6E43}"/>
    <dgm:cxn modelId="{EF2BB284-3088-477D-8C59-970A29A19E60}" srcId="{21871722-4642-42BC-BFD5-6A4DA6491825}" destId="{E7A1EB73-FF9B-47C9-B163-6176C8E125C2}" srcOrd="3" destOrd="0" parTransId="{F809A223-9D91-406A-AE84-A6B960FEB988}" sibTransId="{C5B97D50-9AC3-4562-B943-FD5AB23DD662}"/>
    <dgm:cxn modelId="{318FAF8C-D570-4BF0-AAA6-DC6782AD786C}" type="presOf" srcId="{CC5C7731-77BD-49B9-AF7D-3C5ED56F7C62}" destId="{AB8FACBB-E97E-41EB-8C6A-C350395CD957}" srcOrd="0" destOrd="0" presId="urn:microsoft.com/office/officeart/2005/8/layout/hList1"/>
    <dgm:cxn modelId="{91F9EA8E-527A-433C-982B-A2B96F6D2E69}" type="presOf" srcId="{21871722-4642-42BC-BFD5-6A4DA6491825}" destId="{8693F1E6-E796-42A2-95AC-E1DECB27DDFF}" srcOrd="0" destOrd="0" presId="urn:microsoft.com/office/officeart/2005/8/layout/hList1"/>
    <dgm:cxn modelId="{0DA04EA3-6525-42D2-99DF-3AFADB2A5BAB}" type="presOf" srcId="{240D06BF-47B2-42F2-ADEB-D7C9C2BA6899}" destId="{9A32E3FC-5173-4CF0-938C-BAE1C2FA68BD}" srcOrd="0" destOrd="0" presId="urn:microsoft.com/office/officeart/2005/8/layout/hList1"/>
    <dgm:cxn modelId="{9C385AB6-3AF2-4961-B057-189C84B82581}" srcId="{240D06BF-47B2-42F2-ADEB-D7C9C2BA6899}" destId="{B58EC602-D6BB-469D-AAC5-C7C4F5543C79}" srcOrd="0" destOrd="0" parTransId="{9E197DFF-63E4-4D88-A5EC-10DD3BA704FE}" sibTransId="{8D682D1E-A2A3-4D3D-9D35-4AA5D6F9FD71}"/>
    <dgm:cxn modelId="{54A798B8-16AA-4F92-9342-ED43E62D9639}" type="presOf" srcId="{A1AD1ED0-5194-43A6-9E46-35606A0CB0AD}" destId="{9731D488-8C25-4065-9D60-5FDE7ACC2F20}" srcOrd="0" destOrd="0" presId="urn:microsoft.com/office/officeart/2005/8/layout/hList1"/>
    <dgm:cxn modelId="{ED863CC5-E8F3-4030-890C-179E6337A5C0}" type="presOf" srcId="{E78F2ECD-0C8E-4652-AD1D-4654CAE62D38}" destId="{AB8FACBB-E97E-41EB-8C6A-C350395CD957}" srcOrd="0" destOrd="1" presId="urn:microsoft.com/office/officeart/2005/8/layout/hList1"/>
    <dgm:cxn modelId="{E5D068DA-59B5-4D53-B831-FC4FF5F9DC56}" srcId="{D2A5DCB6-BB08-49A4-953C-6DBDADDE4AD4}" destId="{E78F2ECD-0C8E-4652-AD1D-4654CAE62D38}" srcOrd="1" destOrd="0" parTransId="{7DD9F3B9-6338-433D-9515-45C705AB70EB}" sibTransId="{5698C38E-7AEB-439D-96D8-2AB75978689A}"/>
    <dgm:cxn modelId="{6F48E2DA-9C77-456C-AFC6-025F4954C400}" srcId="{240D06BF-47B2-42F2-ADEB-D7C9C2BA6899}" destId="{28C1DDD4-CAED-4C70-956B-23FBEF673526}" srcOrd="1" destOrd="0" parTransId="{238EE6C8-1850-4798-8CD1-0F8D45E37C4A}" sibTransId="{BC1086D8-4B96-4678-924F-FDBC7E7F5608}"/>
    <dgm:cxn modelId="{7BB0BCDB-4CF1-4C5B-9F3C-0744186E443C}" srcId="{E7A1EB73-FF9B-47C9-B163-6176C8E125C2}" destId="{D7BF4A5F-4192-4460-B4C6-8F8C65C78EBF}" srcOrd="1" destOrd="0" parTransId="{F00F08BE-6411-4BB5-ACB6-CEE40716B337}" sibTransId="{02A54E37-F324-49F5-91C4-F46FD2F304FB}"/>
    <dgm:cxn modelId="{A83296DE-7772-42A6-8992-AD07EDB0B89A}" srcId="{E7A1EB73-FF9B-47C9-B163-6176C8E125C2}" destId="{973D38B8-62A7-4F00-AD4A-3C31A83F6301}" srcOrd="0" destOrd="0" parTransId="{AF7E8A44-FD78-477E-849C-6149E4B69D48}" sibTransId="{948880C4-C8A8-403D-AC2F-BFDE2483A9FC}"/>
    <dgm:cxn modelId="{A4B7BFE5-85E4-4FC4-871F-400D53FE9A5A}" srcId="{21871722-4642-42BC-BFD5-6A4DA6491825}" destId="{A1AD1ED0-5194-43A6-9E46-35606A0CB0AD}" srcOrd="2" destOrd="0" parTransId="{EC0537D4-ABB1-43C0-92B2-3B82FF23BF41}" sibTransId="{A3D30740-F840-4833-BA5F-6500050085F4}"/>
    <dgm:cxn modelId="{7B918AEF-55B0-4AB2-958C-27993399CFD2}" type="presOf" srcId="{973D38B8-62A7-4F00-AD4A-3C31A83F6301}" destId="{F86356BB-9F14-4608-ADBF-E7A84CB1978C}" srcOrd="0" destOrd="0" presId="urn:microsoft.com/office/officeart/2005/8/layout/hList1"/>
    <dgm:cxn modelId="{22EBFAF7-6A14-442E-9E9A-D918C3FB62F0}" srcId="{A1AD1ED0-5194-43A6-9E46-35606A0CB0AD}" destId="{FFF24C88-2870-4620-8653-F50BCD5BDC67}" srcOrd="1" destOrd="0" parTransId="{CE15191D-D5C4-4FD5-94A3-ADBCBBB92245}" sibTransId="{AC125F09-66A1-41F8-80D5-3835E26E36FC}"/>
    <dgm:cxn modelId="{1ACA9A86-5CD6-45F8-B923-69EB99643BB1}" type="presParOf" srcId="{8693F1E6-E796-42A2-95AC-E1DECB27DDFF}" destId="{F56F38AF-A1D2-4B33-8531-C4AB80A1D8F4}" srcOrd="0" destOrd="0" presId="urn:microsoft.com/office/officeart/2005/8/layout/hList1"/>
    <dgm:cxn modelId="{61990B38-6810-49DB-92CD-4018DE896ABB}" type="presParOf" srcId="{F56F38AF-A1D2-4B33-8531-C4AB80A1D8F4}" destId="{2A3850E2-929E-488A-9605-C1657D549A18}" srcOrd="0" destOrd="0" presId="urn:microsoft.com/office/officeart/2005/8/layout/hList1"/>
    <dgm:cxn modelId="{3FD19168-514D-47F0-9C7B-2CFCEFEA7B4A}" type="presParOf" srcId="{F56F38AF-A1D2-4B33-8531-C4AB80A1D8F4}" destId="{AB8FACBB-E97E-41EB-8C6A-C350395CD957}" srcOrd="1" destOrd="0" presId="urn:microsoft.com/office/officeart/2005/8/layout/hList1"/>
    <dgm:cxn modelId="{C636DBC1-5DB1-4296-A6A4-A2E5FF13E2CF}" type="presParOf" srcId="{8693F1E6-E796-42A2-95AC-E1DECB27DDFF}" destId="{6D57947F-6965-4DDD-A49B-EAD685C34CD0}" srcOrd="1" destOrd="0" presId="urn:microsoft.com/office/officeart/2005/8/layout/hList1"/>
    <dgm:cxn modelId="{A56C14A6-B87E-4B52-A60A-936E8914F580}" type="presParOf" srcId="{8693F1E6-E796-42A2-95AC-E1DECB27DDFF}" destId="{0F4AEC24-02BF-4AF3-BBE7-536BB2F04366}" srcOrd="2" destOrd="0" presId="urn:microsoft.com/office/officeart/2005/8/layout/hList1"/>
    <dgm:cxn modelId="{FF876ED8-6152-4D60-9B75-FF1CB2189F42}" type="presParOf" srcId="{0F4AEC24-02BF-4AF3-BBE7-536BB2F04366}" destId="{9A32E3FC-5173-4CF0-938C-BAE1C2FA68BD}" srcOrd="0" destOrd="0" presId="urn:microsoft.com/office/officeart/2005/8/layout/hList1"/>
    <dgm:cxn modelId="{B6C874DC-722C-4EA3-9626-090B5F7CC4EF}" type="presParOf" srcId="{0F4AEC24-02BF-4AF3-BBE7-536BB2F04366}" destId="{3A6D7D2E-32EC-431A-9BEC-9ACDB58173E0}" srcOrd="1" destOrd="0" presId="urn:microsoft.com/office/officeart/2005/8/layout/hList1"/>
    <dgm:cxn modelId="{3B65389D-8E39-4456-AD6B-5ECAE6906C99}" type="presParOf" srcId="{8693F1E6-E796-42A2-95AC-E1DECB27DDFF}" destId="{6E846282-1EAB-412C-AEF5-E5B5DF64BD92}" srcOrd="3" destOrd="0" presId="urn:microsoft.com/office/officeart/2005/8/layout/hList1"/>
    <dgm:cxn modelId="{8D99075A-2173-4A31-86AD-2C93648616B4}" type="presParOf" srcId="{8693F1E6-E796-42A2-95AC-E1DECB27DDFF}" destId="{E2BB5B61-AE79-4B78-A8F5-7268D00AB09A}" srcOrd="4" destOrd="0" presId="urn:microsoft.com/office/officeart/2005/8/layout/hList1"/>
    <dgm:cxn modelId="{D25CDCB0-6C9D-407E-A89A-3E0975C6493B}" type="presParOf" srcId="{E2BB5B61-AE79-4B78-A8F5-7268D00AB09A}" destId="{9731D488-8C25-4065-9D60-5FDE7ACC2F20}" srcOrd="0" destOrd="0" presId="urn:microsoft.com/office/officeart/2005/8/layout/hList1"/>
    <dgm:cxn modelId="{7EA59C6E-249D-49E8-98C1-B4663A5D1CAD}" type="presParOf" srcId="{E2BB5B61-AE79-4B78-A8F5-7268D00AB09A}" destId="{297D5F6F-8DDB-4106-AB89-49221CB02FB9}" srcOrd="1" destOrd="0" presId="urn:microsoft.com/office/officeart/2005/8/layout/hList1"/>
    <dgm:cxn modelId="{7C7F0613-D97C-41AC-B5E8-E840C0FE1AA6}" type="presParOf" srcId="{8693F1E6-E796-42A2-95AC-E1DECB27DDFF}" destId="{322BEBB5-29FF-4CE4-9755-FE1442630600}" srcOrd="5" destOrd="0" presId="urn:microsoft.com/office/officeart/2005/8/layout/hList1"/>
    <dgm:cxn modelId="{27119E90-6820-4922-A68B-E1098743EA3B}" type="presParOf" srcId="{8693F1E6-E796-42A2-95AC-E1DECB27DDFF}" destId="{824A1D67-B9C9-419F-8CBC-C020C9305F9F}" srcOrd="6" destOrd="0" presId="urn:microsoft.com/office/officeart/2005/8/layout/hList1"/>
    <dgm:cxn modelId="{057729E7-F981-413A-B71A-4B2ECD3E1054}" type="presParOf" srcId="{824A1D67-B9C9-419F-8CBC-C020C9305F9F}" destId="{F5243D60-1C94-45AA-94F1-D458C71FB891}" srcOrd="0" destOrd="0" presId="urn:microsoft.com/office/officeart/2005/8/layout/hList1"/>
    <dgm:cxn modelId="{402670BD-43A0-4BE4-A3C2-4E6068895024}" type="presParOf" srcId="{824A1D67-B9C9-419F-8CBC-C020C9305F9F}" destId="{F86356BB-9F14-4608-ADBF-E7A84CB1978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67778B8-D55B-4206-B228-18A463EDD552}" type="doc">
      <dgm:prSet loTypeId="urn:microsoft.com/office/officeart/2005/8/layout/hierarchy1" loCatId="hierarchy" qsTypeId="urn:microsoft.com/office/officeart/2005/8/quickstyle/simple2" qsCatId="simple" csTypeId="urn:microsoft.com/office/officeart/2005/8/colors/accent2_2" csCatId="accent2"/>
      <dgm:spPr/>
      <dgm:t>
        <a:bodyPr/>
        <a:lstStyle/>
        <a:p>
          <a:endParaRPr lang="en-US"/>
        </a:p>
      </dgm:t>
    </dgm:pt>
    <dgm:pt modelId="{9BBDB197-807F-4995-A2A8-4577FF0ED79E}">
      <dgm:prSet/>
      <dgm:spPr/>
      <dgm:t>
        <a:bodyPr/>
        <a:lstStyle/>
        <a:p>
          <a:r>
            <a:rPr lang="en-US" baseline="0"/>
            <a:t>Free trials</a:t>
          </a:r>
          <a:endParaRPr lang="en-US"/>
        </a:p>
      </dgm:t>
    </dgm:pt>
    <dgm:pt modelId="{4B9CE6C0-2329-42DC-B9A3-BFE575A196B3}" type="parTrans" cxnId="{38406A22-26F6-4E8C-9376-25689B60A785}">
      <dgm:prSet/>
      <dgm:spPr/>
      <dgm:t>
        <a:bodyPr/>
        <a:lstStyle/>
        <a:p>
          <a:endParaRPr lang="en-US"/>
        </a:p>
      </dgm:t>
    </dgm:pt>
    <dgm:pt modelId="{4A742291-E7C8-4878-9C5C-9D36BDEDA915}" type="sibTrans" cxnId="{38406A22-26F6-4E8C-9376-25689B60A785}">
      <dgm:prSet/>
      <dgm:spPr/>
      <dgm:t>
        <a:bodyPr/>
        <a:lstStyle/>
        <a:p>
          <a:endParaRPr lang="en-US"/>
        </a:p>
      </dgm:t>
    </dgm:pt>
    <dgm:pt modelId="{0272E24E-89FF-4FCC-BAB3-8A7D69F860F8}">
      <dgm:prSet/>
      <dgm:spPr/>
      <dgm:t>
        <a:bodyPr/>
        <a:lstStyle/>
        <a:p>
          <a:r>
            <a:rPr lang="en-US" baseline="0"/>
            <a:t>Plan and pricing options</a:t>
          </a:r>
          <a:endParaRPr lang="en-US"/>
        </a:p>
      </dgm:t>
    </dgm:pt>
    <dgm:pt modelId="{3DBEDB72-7AA1-4565-A299-F1D9AEDB7A5E}" type="parTrans" cxnId="{FF3364C2-307A-43BB-927B-50848AA4F446}">
      <dgm:prSet/>
      <dgm:spPr/>
      <dgm:t>
        <a:bodyPr/>
        <a:lstStyle/>
        <a:p>
          <a:endParaRPr lang="en-US"/>
        </a:p>
      </dgm:t>
    </dgm:pt>
    <dgm:pt modelId="{7214CAF9-D1AA-49CC-9568-97584CF0CAD8}" type="sibTrans" cxnId="{FF3364C2-307A-43BB-927B-50848AA4F446}">
      <dgm:prSet/>
      <dgm:spPr/>
      <dgm:t>
        <a:bodyPr/>
        <a:lstStyle/>
        <a:p>
          <a:endParaRPr lang="en-US"/>
        </a:p>
      </dgm:t>
    </dgm:pt>
    <dgm:pt modelId="{3A2A0504-C898-4A71-8B2F-3AEBAF9EB1D6}">
      <dgm:prSet/>
      <dgm:spPr/>
      <dgm:t>
        <a:bodyPr/>
        <a:lstStyle/>
        <a:p>
          <a:r>
            <a:rPr lang="en-US" baseline="0"/>
            <a:t>Selling through Microsoft</a:t>
          </a:r>
          <a:endParaRPr lang="en-US"/>
        </a:p>
      </dgm:t>
    </dgm:pt>
    <dgm:pt modelId="{DAF734A4-90D2-4FFA-86F7-2C92F7B8A407}" type="parTrans" cxnId="{D05AB872-3AFC-481D-B887-429670981008}">
      <dgm:prSet/>
      <dgm:spPr/>
      <dgm:t>
        <a:bodyPr/>
        <a:lstStyle/>
        <a:p>
          <a:endParaRPr lang="en-US"/>
        </a:p>
      </dgm:t>
    </dgm:pt>
    <dgm:pt modelId="{9AFE3FF1-A720-44D8-9754-ED001B0A1C2A}" type="sibTrans" cxnId="{D05AB872-3AFC-481D-B887-429670981008}">
      <dgm:prSet/>
      <dgm:spPr/>
      <dgm:t>
        <a:bodyPr/>
        <a:lstStyle/>
        <a:p>
          <a:endParaRPr lang="en-US"/>
        </a:p>
      </dgm:t>
    </dgm:pt>
    <dgm:pt modelId="{9C6BF622-F513-4ACD-8D88-FA6922352CFD}" type="pres">
      <dgm:prSet presAssocID="{367778B8-D55B-4206-B228-18A463EDD552}" presName="hierChild1" presStyleCnt="0">
        <dgm:presLayoutVars>
          <dgm:chPref val="1"/>
          <dgm:dir/>
          <dgm:animOne val="branch"/>
          <dgm:animLvl val="lvl"/>
          <dgm:resizeHandles/>
        </dgm:presLayoutVars>
      </dgm:prSet>
      <dgm:spPr/>
    </dgm:pt>
    <dgm:pt modelId="{8E229EBF-ACA3-4A27-900B-389465E7F607}" type="pres">
      <dgm:prSet presAssocID="{9BBDB197-807F-4995-A2A8-4577FF0ED79E}" presName="hierRoot1" presStyleCnt="0"/>
      <dgm:spPr/>
    </dgm:pt>
    <dgm:pt modelId="{BDF89057-F2E2-43E1-A73D-7A63769F66F0}" type="pres">
      <dgm:prSet presAssocID="{9BBDB197-807F-4995-A2A8-4577FF0ED79E}" presName="composite" presStyleCnt="0"/>
      <dgm:spPr/>
    </dgm:pt>
    <dgm:pt modelId="{6353E2DF-10CD-4B56-B1B1-0E8C9D02D5DD}" type="pres">
      <dgm:prSet presAssocID="{9BBDB197-807F-4995-A2A8-4577FF0ED79E}" presName="background" presStyleLbl="node0" presStyleIdx="0" presStyleCnt="3"/>
      <dgm:spPr/>
    </dgm:pt>
    <dgm:pt modelId="{520F1F58-5C78-4603-B44B-6A0E5D94270A}" type="pres">
      <dgm:prSet presAssocID="{9BBDB197-807F-4995-A2A8-4577FF0ED79E}" presName="text" presStyleLbl="fgAcc0" presStyleIdx="0" presStyleCnt="3">
        <dgm:presLayoutVars>
          <dgm:chPref val="3"/>
        </dgm:presLayoutVars>
      </dgm:prSet>
      <dgm:spPr/>
    </dgm:pt>
    <dgm:pt modelId="{D80F3C3D-F874-4B8E-BED6-CB96956E241A}" type="pres">
      <dgm:prSet presAssocID="{9BBDB197-807F-4995-A2A8-4577FF0ED79E}" presName="hierChild2" presStyleCnt="0"/>
      <dgm:spPr/>
    </dgm:pt>
    <dgm:pt modelId="{999FA4B5-9E3E-4063-8B70-A6A3F3C2141B}" type="pres">
      <dgm:prSet presAssocID="{0272E24E-89FF-4FCC-BAB3-8A7D69F860F8}" presName="hierRoot1" presStyleCnt="0"/>
      <dgm:spPr/>
    </dgm:pt>
    <dgm:pt modelId="{7164C5A4-69ED-4041-90AF-288438A526E9}" type="pres">
      <dgm:prSet presAssocID="{0272E24E-89FF-4FCC-BAB3-8A7D69F860F8}" presName="composite" presStyleCnt="0"/>
      <dgm:spPr/>
    </dgm:pt>
    <dgm:pt modelId="{25AEA7F3-275E-473E-94C5-443663F42157}" type="pres">
      <dgm:prSet presAssocID="{0272E24E-89FF-4FCC-BAB3-8A7D69F860F8}" presName="background" presStyleLbl="node0" presStyleIdx="1" presStyleCnt="3"/>
      <dgm:spPr/>
    </dgm:pt>
    <dgm:pt modelId="{12E62845-3680-402A-9E2A-956F9FE097D0}" type="pres">
      <dgm:prSet presAssocID="{0272E24E-89FF-4FCC-BAB3-8A7D69F860F8}" presName="text" presStyleLbl="fgAcc0" presStyleIdx="1" presStyleCnt="3">
        <dgm:presLayoutVars>
          <dgm:chPref val="3"/>
        </dgm:presLayoutVars>
      </dgm:prSet>
      <dgm:spPr/>
    </dgm:pt>
    <dgm:pt modelId="{A8B7734D-D7EA-4DC8-A155-72B32F1237B7}" type="pres">
      <dgm:prSet presAssocID="{0272E24E-89FF-4FCC-BAB3-8A7D69F860F8}" presName="hierChild2" presStyleCnt="0"/>
      <dgm:spPr/>
    </dgm:pt>
    <dgm:pt modelId="{E271137C-A6B0-42E6-8626-8927576A656D}" type="pres">
      <dgm:prSet presAssocID="{3A2A0504-C898-4A71-8B2F-3AEBAF9EB1D6}" presName="hierRoot1" presStyleCnt="0"/>
      <dgm:spPr/>
    </dgm:pt>
    <dgm:pt modelId="{E4D2C646-AA7A-475C-B8F2-BD96AD65F81A}" type="pres">
      <dgm:prSet presAssocID="{3A2A0504-C898-4A71-8B2F-3AEBAF9EB1D6}" presName="composite" presStyleCnt="0"/>
      <dgm:spPr/>
    </dgm:pt>
    <dgm:pt modelId="{8AB241AB-1ECD-4E28-9CC4-37A1F6ADECF0}" type="pres">
      <dgm:prSet presAssocID="{3A2A0504-C898-4A71-8B2F-3AEBAF9EB1D6}" presName="background" presStyleLbl="node0" presStyleIdx="2" presStyleCnt="3"/>
      <dgm:spPr/>
    </dgm:pt>
    <dgm:pt modelId="{960C2012-83CF-4D40-B80C-83648AE03CF9}" type="pres">
      <dgm:prSet presAssocID="{3A2A0504-C898-4A71-8B2F-3AEBAF9EB1D6}" presName="text" presStyleLbl="fgAcc0" presStyleIdx="2" presStyleCnt="3">
        <dgm:presLayoutVars>
          <dgm:chPref val="3"/>
        </dgm:presLayoutVars>
      </dgm:prSet>
      <dgm:spPr/>
    </dgm:pt>
    <dgm:pt modelId="{1DDA8C39-0D1A-4365-92DE-405E30D9DB08}" type="pres">
      <dgm:prSet presAssocID="{3A2A0504-C898-4A71-8B2F-3AEBAF9EB1D6}" presName="hierChild2" presStyleCnt="0"/>
      <dgm:spPr/>
    </dgm:pt>
  </dgm:ptLst>
  <dgm:cxnLst>
    <dgm:cxn modelId="{060F7E0C-2EF9-4EEC-A807-A7CBEA04D7DB}" type="presOf" srcId="{3A2A0504-C898-4A71-8B2F-3AEBAF9EB1D6}" destId="{960C2012-83CF-4D40-B80C-83648AE03CF9}" srcOrd="0" destOrd="0" presId="urn:microsoft.com/office/officeart/2005/8/layout/hierarchy1"/>
    <dgm:cxn modelId="{38406A22-26F6-4E8C-9376-25689B60A785}" srcId="{367778B8-D55B-4206-B228-18A463EDD552}" destId="{9BBDB197-807F-4995-A2A8-4577FF0ED79E}" srcOrd="0" destOrd="0" parTransId="{4B9CE6C0-2329-42DC-B9A3-BFE575A196B3}" sibTransId="{4A742291-E7C8-4878-9C5C-9D36BDEDA915}"/>
    <dgm:cxn modelId="{D05AB872-3AFC-481D-B887-429670981008}" srcId="{367778B8-D55B-4206-B228-18A463EDD552}" destId="{3A2A0504-C898-4A71-8B2F-3AEBAF9EB1D6}" srcOrd="2" destOrd="0" parTransId="{DAF734A4-90D2-4FFA-86F7-2C92F7B8A407}" sibTransId="{9AFE3FF1-A720-44D8-9754-ED001B0A1C2A}"/>
    <dgm:cxn modelId="{C0BD9A84-FDFA-4D67-A42E-54104E16AB46}" type="presOf" srcId="{367778B8-D55B-4206-B228-18A463EDD552}" destId="{9C6BF622-F513-4ACD-8D88-FA6922352CFD}" srcOrd="0" destOrd="0" presId="urn:microsoft.com/office/officeart/2005/8/layout/hierarchy1"/>
    <dgm:cxn modelId="{FE18958E-7B9E-4298-B633-B5AA4BBC6C76}" type="presOf" srcId="{9BBDB197-807F-4995-A2A8-4577FF0ED79E}" destId="{520F1F58-5C78-4603-B44B-6A0E5D94270A}" srcOrd="0" destOrd="0" presId="urn:microsoft.com/office/officeart/2005/8/layout/hierarchy1"/>
    <dgm:cxn modelId="{FF3364C2-307A-43BB-927B-50848AA4F446}" srcId="{367778B8-D55B-4206-B228-18A463EDD552}" destId="{0272E24E-89FF-4FCC-BAB3-8A7D69F860F8}" srcOrd="1" destOrd="0" parTransId="{3DBEDB72-7AA1-4565-A299-F1D9AEDB7A5E}" sibTransId="{7214CAF9-D1AA-49CC-9568-97584CF0CAD8}"/>
    <dgm:cxn modelId="{225458FB-A2ED-424B-A698-22D8D7D5AE5F}" type="presOf" srcId="{0272E24E-89FF-4FCC-BAB3-8A7D69F860F8}" destId="{12E62845-3680-402A-9E2A-956F9FE097D0}" srcOrd="0" destOrd="0" presId="urn:microsoft.com/office/officeart/2005/8/layout/hierarchy1"/>
    <dgm:cxn modelId="{B514E27E-1303-4A90-965E-A73C4F536782}" type="presParOf" srcId="{9C6BF622-F513-4ACD-8D88-FA6922352CFD}" destId="{8E229EBF-ACA3-4A27-900B-389465E7F607}" srcOrd="0" destOrd="0" presId="urn:microsoft.com/office/officeart/2005/8/layout/hierarchy1"/>
    <dgm:cxn modelId="{BBA69E76-D8C6-4AD4-942C-885E25822B88}" type="presParOf" srcId="{8E229EBF-ACA3-4A27-900B-389465E7F607}" destId="{BDF89057-F2E2-43E1-A73D-7A63769F66F0}" srcOrd="0" destOrd="0" presId="urn:microsoft.com/office/officeart/2005/8/layout/hierarchy1"/>
    <dgm:cxn modelId="{C7736136-B0E0-4026-BEFD-7BD9101441D3}" type="presParOf" srcId="{BDF89057-F2E2-43E1-A73D-7A63769F66F0}" destId="{6353E2DF-10CD-4B56-B1B1-0E8C9D02D5DD}" srcOrd="0" destOrd="0" presId="urn:microsoft.com/office/officeart/2005/8/layout/hierarchy1"/>
    <dgm:cxn modelId="{420D9ED0-E313-49DE-B5C6-DD1343E2A9FA}" type="presParOf" srcId="{BDF89057-F2E2-43E1-A73D-7A63769F66F0}" destId="{520F1F58-5C78-4603-B44B-6A0E5D94270A}" srcOrd="1" destOrd="0" presId="urn:microsoft.com/office/officeart/2005/8/layout/hierarchy1"/>
    <dgm:cxn modelId="{42D4D0C8-F158-4FF2-91ED-9F3FE882F646}" type="presParOf" srcId="{8E229EBF-ACA3-4A27-900B-389465E7F607}" destId="{D80F3C3D-F874-4B8E-BED6-CB96956E241A}" srcOrd="1" destOrd="0" presId="urn:microsoft.com/office/officeart/2005/8/layout/hierarchy1"/>
    <dgm:cxn modelId="{278A4DC1-CE39-4300-9DCC-D9EB2D001021}" type="presParOf" srcId="{9C6BF622-F513-4ACD-8D88-FA6922352CFD}" destId="{999FA4B5-9E3E-4063-8B70-A6A3F3C2141B}" srcOrd="1" destOrd="0" presId="urn:microsoft.com/office/officeart/2005/8/layout/hierarchy1"/>
    <dgm:cxn modelId="{8A7767EB-C886-473D-A44B-4B9B8CCFD5DE}" type="presParOf" srcId="{999FA4B5-9E3E-4063-8B70-A6A3F3C2141B}" destId="{7164C5A4-69ED-4041-90AF-288438A526E9}" srcOrd="0" destOrd="0" presId="urn:microsoft.com/office/officeart/2005/8/layout/hierarchy1"/>
    <dgm:cxn modelId="{8D448084-6953-458D-A87B-AB9EB0C43232}" type="presParOf" srcId="{7164C5A4-69ED-4041-90AF-288438A526E9}" destId="{25AEA7F3-275E-473E-94C5-443663F42157}" srcOrd="0" destOrd="0" presId="urn:microsoft.com/office/officeart/2005/8/layout/hierarchy1"/>
    <dgm:cxn modelId="{8979D81B-7936-477D-A244-61AB1B06A141}" type="presParOf" srcId="{7164C5A4-69ED-4041-90AF-288438A526E9}" destId="{12E62845-3680-402A-9E2A-956F9FE097D0}" srcOrd="1" destOrd="0" presId="urn:microsoft.com/office/officeart/2005/8/layout/hierarchy1"/>
    <dgm:cxn modelId="{12DB9FEC-95AB-4CFC-ADDA-DCE256CD1869}" type="presParOf" srcId="{999FA4B5-9E3E-4063-8B70-A6A3F3C2141B}" destId="{A8B7734D-D7EA-4DC8-A155-72B32F1237B7}" srcOrd="1" destOrd="0" presId="urn:microsoft.com/office/officeart/2005/8/layout/hierarchy1"/>
    <dgm:cxn modelId="{FEF6F27E-B3EC-4B3B-8FF2-EB0C2CEE0D66}" type="presParOf" srcId="{9C6BF622-F513-4ACD-8D88-FA6922352CFD}" destId="{E271137C-A6B0-42E6-8626-8927576A656D}" srcOrd="2" destOrd="0" presId="urn:microsoft.com/office/officeart/2005/8/layout/hierarchy1"/>
    <dgm:cxn modelId="{78DEC915-B5E2-464D-BE16-6D03B217D65A}" type="presParOf" srcId="{E271137C-A6B0-42E6-8626-8927576A656D}" destId="{E4D2C646-AA7A-475C-B8F2-BD96AD65F81A}" srcOrd="0" destOrd="0" presId="urn:microsoft.com/office/officeart/2005/8/layout/hierarchy1"/>
    <dgm:cxn modelId="{EC413D0C-6101-49A1-91B6-3710467E6D63}" type="presParOf" srcId="{E4D2C646-AA7A-475C-B8F2-BD96AD65F81A}" destId="{8AB241AB-1ECD-4E28-9CC4-37A1F6ADECF0}" srcOrd="0" destOrd="0" presId="urn:microsoft.com/office/officeart/2005/8/layout/hierarchy1"/>
    <dgm:cxn modelId="{47E95CAC-BBA4-4D88-B811-58A609865960}" type="presParOf" srcId="{E4D2C646-AA7A-475C-B8F2-BD96AD65F81A}" destId="{960C2012-83CF-4D40-B80C-83648AE03CF9}" srcOrd="1" destOrd="0" presId="urn:microsoft.com/office/officeart/2005/8/layout/hierarchy1"/>
    <dgm:cxn modelId="{0D2BEA9C-B67C-4BAC-9DDB-8066A3C791DE}" type="presParOf" srcId="{E271137C-A6B0-42E6-8626-8927576A656D}" destId="{1DDA8C39-0D1A-4365-92DE-405E30D9DB08}"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3596270-67C9-4B7A-A7DD-8B98A3183114}" type="doc">
      <dgm:prSet loTypeId="urn:microsoft.com/office/officeart/2005/8/layout/vList5" loCatId="list" qsTypeId="urn:microsoft.com/office/officeart/2005/8/quickstyle/simple2" qsCatId="simple" csTypeId="urn:microsoft.com/office/officeart/2005/8/colors/accent2_2" csCatId="accent2"/>
      <dgm:spPr/>
      <dgm:t>
        <a:bodyPr/>
        <a:lstStyle/>
        <a:p>
          <a:endParaRPr lang="en-US"/>
        </a:p>
      </dgm:t>
    </dgm:pt>
    <dgm:pt modelId="{C4A534BA-A310-40E4-BCF7-5A6B59BE2D52}">
      <dgm:prSet/>
      <dgm:spPr/>
      <dgm:t>
        <a:bodyPr/>
        <a:lstStyle/>
        <a:p>
          <a:r>
            <a:rPr lang="en-US" baseline="0"/>
            <a:t>Requirements</a:t>
          </a:r>
          <a:endParaRPr lang="en-US"/>
        </a:p>
      </dgm:t>
    </dgm:pt>
    <dgm:pt modelId="{93D74102-1881-493E-98DE-06637E3891BB}" type="parTrans" cxnId="{094516AA-D84E-43F7-AF13-08A0B95E05D4}">
      <dgm:prSet/>
      <dgm:spPr/>
      <dgm:t>
        <a:bodyPr/>
        <a:lstStyle/>
        <a:p>
          <a:endParaRPr lang="en-US"/>
        </a:p>
      </dgm:t>
    </dgm:pt>
    <dgm:pt modelId="{427248B8-8317-416B-AD97-3C8A8DA09794}" type="sibTrans" cxnId="{094516AA-D84E-43F7-AF13-08A0B95E05D4}">
      <dgm:prSet/>
      <dgm:spPr/>
      <dgm:t>
        <a:bodyPr/>
        <a:lstStyle/>
        <a:p>
          <a:endParaRPr lang="en-US"/>
        </a:p>
      </dgm:t>
    </dgm:pt>
    <dgm:pt modelId="{213746DA-85ED-42E5-811A-D4D58BEFDA67}">
      <dgm:prSet/>
      <dgm:spPr/>
      <dgm:t>
        <a:bodyPr/>
        <a:lstStyle/>
        <a:p>
          <a:r>
            <a:rPr lang="en-US" baseline="0"/>
            <a:t>Have an Azure subscription</a:t>
          </a:r>
          <a:endParaRPr lang="en-US"/>
        </a:p>
      </dgm:t>
    </dgm:pt>
    <dgm:pt modelId="{81A74E21-6B6E-4F47-8FE1-885116B0A93F}" type="parTrans" cxnId="{2C7902CF-2AF5-4B51-AED7-33B92D98AFFF}">
      <dgm:prSet/>
      <dgm:spPr/>
      <dgm:t>
        <a:bodyPr/>
        <a:lstStyle/>
        <a:p>
          <a:endParaRPr lang="en-US"/>
        </a:p>
      </dgm:t>
    </dgm:pt>
    <dgm:pt modelId="{8BB73698-F38F-4C70-9E00-C55896BBED10}" type="sibTrans" cxnId="{2C7902CF-2AF5-4B51-AED7-33B92D98AFFF}">
      <dgm:prSet/>
      <dgm:spPr/>
      <dgm:t>
        <a:bodyPr/>
        <a:lstStyle/>
        <a:p>
          <a:endParaRPr lang="en-US"/>
        </a:p>
      </dgm:t>
    </dgm:pt>
    <dgm:pt modelId="{D32F1DCE-56A7-4044-8886-68DE6C210C3B}">
      <dgm:prSet/>
      <dgm:spPr/>
      <dgm:t>
        <a:bodyPr/>
        <a:lstStyle/>
        <a:p>
          <a:r>
            <a:rPr lang="en-US" baseline="0"/>
            <a:t>Have permission to purchase from Azure Marketplace</a:t>
          </a:r>
          <a:endParaRPr lang="en-US"/>
        </a:p>
      </dgm:t>
    </dgm:pt>
    <dgm:pt modelId="{9084F09D-2543-402A-9475-4F51255D6AC9}" type="parTrans" cxnId="{D529520C-BD58-4827-92E4-D3D06A8015B1}">
      <dgm:prSet/>
      <dgm:spPr/>
      <dgm:t>
        <a:bodyPr/>
        <a:lstStyle/>
        <a:p>
          <a:endParaRPr lang="en-US"/>
        </a:p>
      </dgm:t>
    </dgm:pt>
    <dgm:pt modelId="{61D77F2C-1AC9-41C2-BCFE-9DD6C08B43C1}" type="sibTrans" cxnId="{D529520C-BD58-4827-92E4-D3D06A8015B1}">
      <dgm:prSet/>
      <dgm:spPr/>
      <dgm:t>
        <a:bodyPr/>
        <a:lstStyle/>
        <a:p>
          <a:endParaRPr lang="en-US"/>
        </a:p>
      </dgm:t>
    </dgm:pt>
    <dgm:pt modelId="{EBFE2095-F5AC-4AF6-A300-B9E716196A6B}">
      <dgm:prSet/>
      <dgm:spPr/>
      <dgm:t>
        <a:bodyPr/>
        <a:lstStyle/>
        <a:p>
          <a:r>
            <a:rPr lang="en-US" baseline="0"/>
            <a:t>Types of plans</a:t>
          </a:r>
          <a:endParaRPr lang="en-US"/>
        </a:p>
      </dgm:t>
    </dgm:pt>
    <dgm:pt modelId="{32A6A5B8-5814-466C-8BAA-7021BB3B9FE3}" type="parTrans" cxnId="{A3FE5B36-740A-4B79-AF77-A59F08C125C8}">
      <dgm:prSet/>
      <dgm:spPr/>
      <dgm:t>
        <a:bodyPr/>
        <a:lstStyle/>
        <a:p>
          <a:endParaRPr lang="en-US"/>
        </a:p>
      </dgm:t>
    </dgm:pt>
    <dgm:pt modelId="{91393034-817C-49E0-8F58-79D440620446}" type="sibTrans" cxnId="{A3FE5B36-740A-4B79-AF77-A59F08C125C8}">
      <dgm:prSet/>
      <dgm:spPr/>
      <dgm:t>
        <a:bodyPr/>
        <a:lstStyle/>
        <a:p>
          <a:endParaRPr lang="en-US"/>
        </a:p>
      </dgm:t>
    </dgm:pt>
    <dgm:pt modelId="{DDC0035B-1BCC-45DD-A5BC-7BBF27F50DD2}">
      <dgm:prSet/>
      <dgm:spPr/>
      <dgm:t>
        <a:bodyPr/>
        <a:lstStyle/>
        <a:p>
          <a:r>
            <a:rPr lang="en-US" baseline="0"/>
            <a:t>Solution template (ARM template)</a:t>
          </a:r>
          <a:endParaRPr lang="en-US"/>
        </a:p>
      </dgm:t>
    </dgm:pt>
    <dgm:pt modelId="{A4867C4B-0B8A-4E89-A5AE-9689D28589CE}" type="parTrans" cxnId="{C4118EE8-526E-49E4-9AD0-F465A14A85F7}">
      <dgm:prSet/>
      <dgm:spPr/>
      <dgm:t>
        <a:bodyPr/>
        <a:lstStyle/>
        <a:p>
          <a:endParaRPr lang="en-US"/>
        </a:p>
      </dgm:t>
    </dgm:pt>
    <dgm:pt modelId="{13471FFB-CC2B-460D-9A18-A8ED1A87A542}" type="sibTrans" cxnId="{C4118EE8-526E-49E4-9AD0-F465A14A85F7}">
      <dgm:prSet/>
      <dgm:spPr/>
      <dgm:t>
        <a:bodyPr/>
        <a:lstStyle/>
        <a:p>
          <a:endParaRPr lang="en-US"/>
        </a:p>
      </dgm:t>
    </dgm:pt>
    <dgm:pt modelId="{5A0055FD-EF0B-4048-BEC7-67F7FFAEECE1}">
      <dgm:prSet/>
      <dgm:spPr/>
      <dgm:t>
        <a:bodyPr/>
        <a:lstStyle/>
        <a:p>
          <a:r>
            <a:rPr lang="en-US" baseline="0"/>
            <a:t>Managed application</a:t>
          </a:r>
          <a:endParaRPr lang="en-US"/>
        </a:p>
      </dgm:t>
    </dgm:pt>
    <dgm:pt modelId="{9616E823-77B3-48DF-B06A-F623346151F4}" type="parTrans" cxnId="{079C046E-40B8-41A2-9960-660472625C8A}">
      <dgm:prSet/>
      <dgm:spPr/>
      <dgm:t>
        <a:bodyPr/>
        <a:lstStyle/>
        <a:p>
          <a:endParaRPr lang="en-US"/>
        </a:p>
      </dgm:t>
    </dgm:pt>
    <dgm:pt modelId="{0B05A406-72E9-4D32-81A2-8B5CADB0262A}" type="sibTrans" cxnId="{079C046E-40B8-41A2-9960-660472625C8A}">
      <dgm:prSet/>
      <dgm:spPr/>
      <dgm:t>
        <a:bodyPr/>
        <a:lstStyle/>
        <a:p>
          <a:endParaRPr lang="en-US"/>
        </a:p>
      </dgm:t>
    </dgm:pt>
    <dgm:pt modelId="{3FC431C2-C782-4982-85EF-7101E0DA7DEF}">
      <dgm:prSet/>
      <dgm:spPr/>
      <dgm:t>
        <a:bodyPr/>
        <a:lstStyle/>
        <a:p>
          <a:r>
            <a:rPr lang="en-US" baseline="0"/>
            <a:t>Steps to purchase</a:t>
          </a:r>
          <a:endParaRPr lang="en-US"/>
        </a:p>
      </dgm:t>
    </dgm:pt>
    <dgm:pt modelId="{124CC9CC-8A23-40F1-A9CE-5C09D183CE32}" type="parTrans" cxnId="{350C102F-31C2-477B-B56B-D59E35DF8AA3}">
      <dgm:prSet/>
      <dgm:spPr/>
      <dgm:t>
        <a:bodyPr/>
        <a:lstStyle/>
        <a:p>
          <a:endParaRPr lang="en-US"/>
        </a:p>
      </dgm:t>
    </dgm:pt>
    <dgm:pt modelId="{856E602B-5779-4411-BEA1-1858BDD66F00}" type="sibTrans" cxnId="{350C102F-31C2-477B-B56B-D59E35DF8AA3}">
      <dgm:prSet/>
      <dgm:spPr/>
      <dgm:t>
        <a:bodyPr/>
        <a:lstStyle/>
        <a:p>
          <a:endParaRPr lang="en-US"/>
        </a:p>
      </dgm:t>
    </dgm:pt>
    <dgm:pt modelId="{E48761DF-4A61-48C0-8C89-F100C5D7D38D}">
      <dgm:prSet/>
      <dgm:spPr/>
      <dgm:t>
        <a:bodyPr/>
        <a:lstStyle/>
        <a:p>
          <a:r>
            <a:rPr lang="en-US" baseline="0">
              <a:hlinkClick xmlns:r="http://schemas.openxmlformats.org/officeDocument/2006/relationships" r:id="rId1"/>
            </a:rPr>
            <a:t>https://portal.azure.com</a:t>
          </a:r>
          <a:r>
            <a:rPr lang="en-US" baseline="0"/>
            <a:t> </a:t>
          </a:r>
          <a:endParaRPr lang="en-US"/>
        </a:p>
      </dgm:t>
    </dgm:pt>
    <dgm:pt modelId="{9349FBCE-CBE0-4620-99D9-8A58763D17A0}" type="parTrans" cxnId="{740FC66B-5784-487A-BEB1-A4F63CB8F948}">
      <dgm:prSet/>
      <dgm:spPr/>
      <dgm:t>
        <a:bodyPr/>
        <a:lstStyle/>
        <a:p>
          <a:endParaRPr lang="en-US"/>
        </a:p>
      </dgm:t>
    </dgm:pt>
    <dgm:pt modelId="{27FDF6B1-652F-4566-8D72-1D8102877FF4}" type="sibTrans" cxnId="{740FC66B-5784-487A-BEB1-A4F63CB8F948}">
      <dgm:prSet/>
      <dgm:spPr/>
      <dgm:t>
        <a:bodyPr/>
        <a:lstStyle/>
        <a:p>
          <a:endParaRPr lang="en-US"/>
        </a:p>
      </dgm:t>
    </dgm:pt>
    <dgm:pt modelId="{41F8C76C-D8CD-458D-AE2A-BADC5F194AC8}" type="pres">
      <dgm:prSet presAssocID="{13596270-67C9-4B7A-A7DD-8B98A3183114}" presName="Name0" presStyleCnt="0">
        <dgm:presLayoutVars>
          <dgm:dir/>
          <dgm:animLvl val="lvl"/>
          <dgm:resizeHandles val="exact"/>
        </dgm:presLayoutVars>
      </dgm:prSet>
      <dgm:spPr/>
    </dgm:pt>
    <dgm:pt modelId="{7A67E5E3-4CC4-4336-A7A1-C68D48873941}" type="pres">
      <dgm:prSet presAssocID="{C4A534BA-A310-40E4-BCF7-5A6B59BE2D52}" presName="linNode" presStyleCnt="0"/>
      <dgm:spPr/>
    </dgm:pt>
    <dgm:pt modelId="{63766B92-2A1A-4C0A-9D6C-7032EDF3A39C}" type="pres">
      <dgm:prSet presAssocID="{C4A534BA-A310-40E4-BCF7-5A6B59BE2D52}" presName="parentText" presStyleLbl="node1" presStyleIdx="0" presStyleCnt="3">
        <dgm:presLayoutVars>
          <dgm:chMax val="1"/>
          <dgm:bulletEnabled val="1"/>
        </dgm:presLayoutVars>
      </dgm:prSet>
      <dgm:spPr/>
    </dgm:pt>
    <dgm:pt modelId="{23F45B1B-64AE-4F65-AA0D-DA3B7BE4303F}" type="pres">
      <dgm:prSet presAssocID="{C4A534BA-A310-40E4-BCF7-5A6B59BE2D52}" presName="descendantText" presStyleLbl="alignAccFollowNode1" presStyleIdx="0" presStyleCnt="3">
        <dgm:presLayoutVars>
          <dgm:bulletEnabled val="1"/>
        </dgm:presLayoutVars>
      </dgm:prSet>
      <dgm:spPr/>
    </dgm:pt>
    <dgm:pt modelId="{C87BDE86-B929-4ED6-AC7C-4D27B81046A0}" type="pres">
      <dgm:prSet presAssocID="{427248B8-8317-416B-AD97-3C8A8DA09794}" presName="sp" presStyleCnt="0"/>
      <dgm:spPr/>
    </dgm:pt>
    <dgm:pt modelId="{D2F3D8D2-91E8-416D-9A32-DDFE956D312A}" type="pres">
      <dgm:prSet presAssocID="{EBFE2095-F5AC-4AF6-A300-B9E716196A6B}" presName="linNode" presStyleCnt="0"/>
      <dgm:spPr/>
    </dgm:pt>
    <dgm:pt modelId="{AAD31C3D-7ADE-4C83-B6FB-6BC8823CD1B1}" type="pres">
      <dgm:prSet presAssocID="{EBFE2095-F5AC-4AF6-A300-B9E716196A6B}" presName="parentText" presStyleLbl="node1" presStyleIdx="1" presStyleCnt="3">
        <dgm:presLayoutVars>
          <dgm:chMax val="1"/>
          <dgm:bulletEnabled val="1"/>
        </dgm:presLayoutVars>
      </dgm:prSet>
      <dgm:spPr/>
    </dgm:pt>
    <dgm:pt modelId="{0B85CB58-2C90-4CAF-A880-90BFD8247626}" type="pres">
      <dgm:prSet presAssocID="{EBFE2095-F5AC-4AF6-A300-B9E716196A6B}" presName="descendantText" presStyleLbl="alignAccFollowNode1" presStyleIdx="1" presStyleCnt="3">
        <dgm:presLayoutVars>
          <dgm:bulletEnabled val="1"/>
        </dgm:presLayoutVars>
      </dgm:prSet>
      <dgm:spPr/>
    </dgm:pt>
    <dgm:pt modelId="{24A0B9F4-DF40-423B-B8EA-0E7E3D4544AD}" type="pres">
      <dgm:prSet presAssocID="{91393034-817C-49E0-8F58-79D440620446}" presName="sp" presStyleCnt="0"/>
      <dgm:spPr/>
    </dgm:pt>
    <dgm:pt modelId="{098B7C3F-4DA9-4C07-B318-3CECE0C50441}" type="pres">
      <dgm:prSet presAssocID="{3FC431C2-C782-4982-85EF-7101E0DA7DEF}" presName="linNode" presStyleCnt="0"/>
      <dgm:spPr/>
    </dgm:pt>
    <dgm:pt modelId="{2553AE57-7F9B-4AEC-B14F-8816CD63B2A4}" type="pres">
      <dgm:prSet presAssocID="{3FC431C2-C782-4982-85EF-7101E0DA7DEF}" presName="parentText" presStyleLbl="node1" presStyleIdx="2" presStyleCnt="3">
        <dgm:presLayoutVars>
          <dgm:chMax val="1"/>
          <dgm:bulletEnabled val="1"/>
        </dgm:presLayoutVars>
      </dgm:prSet>
      <dgm:spPr/>
    </dgm:pt>
    <dgm:pt modelId="{6E1ED42A-E1BD-4DF7-9A17-C2EB1B25E5A9}" type="pres">
      <dgm:prSet presAssocID="{3FC431C2-C782-4982-85EF-7101E0DA7DEF}" presName="descendantText" presStyleLbl="alignAccFollowNode1" presStyleIdx="2" presStyleCnt="3">
        <dgm:presLayoutVars>
          <dgm:bulletEnabled val="1"/>
        </dgm:presLayoutVars>
      </dgm:prSet>
      <dgm:spPr/>
    </dgm:pt>
  </dgm:ptLst>
  <dgm:cxnLst>
    <dgm:cxn modelId="{97893502-F73F-4FD3-941F-FA85CA65FD2C}" type="presOf" srcId="{5A0055FD-EF0B-4048-BEC7-67F7FFAEECE1}" destId="{0B85CB58-2C90-4CAF-A880-90BFD8247626}" srcOrd="0" destOrd="1" presId="urn:microsoft.com/office/officeart/2005/8/layout/vList5"/>
    <dgm:cxn modelId="{D529520C-BD58-4827-92E4-D3D06A8015B1}" srcId="{C4A534BA-A310-40E4-BCF7-5A6B59BE2D52}" destId="{D32F1DCE-56A7-4044-8886-68DE6C210C3B}" srcOrd="1" destOrd="0" parTransId="{9084F09D-2543-402A-9475-4F51255D6AC9}" sibTransId="{61D77F2C-1AC9-41C2-BCFE-9DD6C08B43C1}"/>
    <dgm:cxn modelId="{5AF1BD13-F1CC-48D2-A495-A20278021569}" type="presOf" srcId="{E48761DF-4A61-48C0-8C89-F100C5D7D38D}" destId="{6E1ED42A-E1BD-4DF7-9A17-C2EB1B25E5A9}" srcOrd="0" destOrd="0" presId="urn:microsoft.com/office/officeart/2005/8/layout/vList5"/>
    <dgm:cxn modelId="{A4F70316-EF81-4A4F-9AAD-639EC748F5DD}" type="presOf" srcId="{DDC0035B-1BCC-45DD-A5BC-7BBF27F50DD2}" destId="{0B85CB58-2C90-4CAF-A880-90BFD8247626}" srcOrd="0" destOrd="0" presId="urn:microsoft.com/office/officeart/2005/8/layout/vList5"/>
    <dgm:cxn modelId="{350C102F-31C2-477B-B56B-D59E35DF8AA3}" srcId="{13596270-67C9-4B7A-A7DD-8B98A3183114}" destId="{3FC431C2-C782-4982-85EF-7101E0DA7DEF}" srcOrd="2" destOrd="0" parTransId="{124CC9CC-8A23-40F1-A9CE-5C09D183CE32}" sibTransId="{856E602B-5779-4411-BEA1-1858BDD66F00}"/>
    <dgm:cxn modelId="{A3FE5B36-740A-4B79-AF77-A59F08C125C8}" srcId="{13596270-67C9-4B7A-A7DD-8B98A3183114}" destId="{EBFE2095-F5AC-4AF6-A300-B9E716196A6B}" srcOrd="1" destOrd="0" parTransId="{32A6A5B8-5814-466C-8BAA-7021BB3B9FE3}" sibTransId="{91393034-817C-49E0-8F58-79D440620446}"/>
    <dgm:cxn modelId="{73DE5161-7819-43AD-B195-06F3F613861F}" type="presOf" srcId="{13596270-67C9-4B7A-A7DD-8B98A3183114}" destId="{41F8C76C-D8CD-458D-AE2A-BADC5F194AC8}" srcOrd="0" destOrd="0" presId="urn:microsoft.com/office/officeart/2005/8/layout/vList5"/>
    <dgm:cxn modelId="{740FC66B-5784-487A-BEB1-A4F63CB8F948}" srcId="{3FC431C2-C782-4982-85EF-7101E0DA7DEF}" destId="{E48761DF-4A61-48C0-8C89-F100C5D7D38D}" srcOrd="0" destOrd="0" parTransId="{9349FBCE-CBE0-4620-99D9-8A58763D17A0}" sibTransId="{27FDF6B1-652F-4566-8D72-1D8102877FF4}"/>
    <dgm:cxn modelId="{079C046E-40B8-41A2-9960-660472625C8A}" srcId="{EBFE2095-F5AC-4AF6-A300-B9E716196A6B}" destId="{5A0055FD-EF0B-4048-BEC7-67F7FFAEECE1}" srcOrd="1" destOrd="0" parTransId="{9616E823-77B3-48DF-B06A-F623346151F4}" sibTransId="{0B05A406-72E9-4D32-81A2-8B5CADB0262A}"/>
    <dgm:cxn modelId="{646E5E81-A743-4988-A104-706FA2F0C0B1}" type="presOf" srcId="{3FC431C2-C782-4982-85EF-7101E0DA7DEF}" destId="{2553AE57-7F9B-4AEC-B14F-8816CD63B2A4}" srcOrd="0" destOrd="0" presId="urn:microsoft.com/office/officeart/2005/8/layout/vList5"/>
    <dgm:cxn modelId="{972F8392-6FEE-434E-AA5A-6A1134EE2E91}" type="presOf" srcId="{213746DA-85ED-42E5-811A-D4D58BEFDA67}" destId="{23F45B1B-64AE-4F65-AA0D-DA3B7BE4303F}" srcOrd="0" destOrd="0" presId="urn:microsoft.com/office/officeart/2005/8/layout/vList5"/>
    <dgm:cxn modelId="{094516AA-D84E-43F7-AF13-08A0B95E05D4}" srcId="{13596270-67C9-4B7A-A7DD-8B98A3183114}" destId="{C4A534BA-A310-40E4-BCF7-5A6B59BE2D52}" srcOrd="0" destOrd="0" parTransId="{93D74102-1881-493E-98DE-06637E3891BB}" sibTransId="{427248B8-8317-416B-AD97-3C8A8DA09794}"/>
    <dgm:cxn modelId="{289FB9C0-1616-4B38-9166-5994CFDBD34C}" type="presOf" srcId="{EBFE2095-F5AC-4AF6-A300-B9E716196A6B}" destId="{AAD31C3D-7ADE-4C83-B6FB-6BC8823CD1B1}" srcOrd="0" destOrd="0" presId="urn:microsoft.com/office/officeart/2005/8/layout/vList5"/>
    <dgm:cxn modelId="{2C7902CF-2AF5-4B51-AED7-33B92D98AFFF}" srcId="{C4A534BA-A310-40E4-BCF7-5A6B59BE2D52}" destId="{213746DA-85ED-42E5-811A-D4D58BEFDA67}" srcOrd="0" destOrd="0" parTransId="{81A74E21-6B6E-4F47-8FE1-885116B0A93F}" sibTransId="{8BB73698-F38F-4C70-9E00-C55896BBED10}"/>
    <dgm:cxn modelId="{CCAFFFE4-D9E6-4DF9-9BE7-772C68A311A8}" type="presOf" srcId="{C4A534BA-A310-40E4-BCF7-5A6B59BE2D52}" destId="{63766B92-2A1A-4C0A-9D6C-7032EDF3A39C}" srcOrd="0" destOrd="0" presId="urn:microsoft.com/office/officeart/2005/8/layout/vList5"/>
    <dgm:cxn modelId="{214ABEE7-9B73-49BC-A214-915A3D9D3721}" type="presOf" srcId="{D32F1DCE-56A7-4044-8886-68DE6C210C3B}" destId="{23F45B1B-64AE-4F65-AA0D-DA3B7BE4303F}" srcOrd="0" destOrd="1" presId="urn:microsoft.com/office/officeart/2005/8/layout/vList5"/>
    <dgm:cxn modelId="{C4118EE8-526E-49E4-9AD0-F465A14A85F7}" srcId="{EBFE2095-F5AC-4AF6-A300-B9E716196A6B}" destId="{DDC0035B-1BCC-45DD-A5BC-7BBF27F50DD2}" srcOrd="0" destOrd="0" parTransId="{A4867C4B-0B8A-4E89-A5AE-9689D28589CE}" sibTransId="{13471FFB-CC2B-460D-9A18-A8ED1A87A542}"/>
    <dgm:cxn modelId="{FE59E771-61B6-4704-81A5-DB027AD90FD1}" type="presParOf" srcId="{41F8C76C-D8CD-458D-AE2A-BADC5F194AC8}" destId="{7A67E5E3-4CC4-4336-A7A1-C68D48873941}" srcOrd="0" destOrd="0" presId="urn:microsoft.com/office/officeart/2005/8/layout/vList5"/>
    <dgm:cxn modelId="{0D574400-5A98-4751-A297-F85E8272697D}" type="presParOf" srcId="{7A67E5E3-4CC4-4336-A7A1-C68D48873941}" destId="{63766B92-2A1A-4C0A-9D6C-7032EDF3A39C}" srcOrd="0" destOrd="0" presId="urn:microsoft.com/office/officeart/2005/8/layout/vList5"/>
    <dgm:cxn modelId="{CCA08C86-BC3D-45EC-94DA-FFE8F41CE809}" type="presParOf" srcId="{7A67E5E3-4CC4-4336-A7A1-C68D48873941}" destId="{23F45B1B-64AE-4F65-AA0D-DA3B7BE4303F}" srcOrd="1" destOrd="0" presId="urn:microsoft.com/office/officeart/2005/8/layout/vList5"/>
    <dgm:cxn modelId="{A1A682F5-2CCD-4734-A579-B797DF23458D}" type="presParOf" srcId="{41F8C76C-D8CD-458D-AE2A-BADC5F194AC8}" destId="{C87BDE86-B929-4ED6-AC7C-4D27B81046A0}" srcOrd="1" destOrd="0" presId="urn:microsoft.com/office/officeart/2005/8/layout/vList5"/>
    <dgm:cxn modelId="{3BFBE5BC-ED07-4F82-9159-14BCAC869461}" type="presParOf" srcId="{41F8C76C-D8CD-458D-AE2A-BADC5F194AC8}" destId="{D2F3D8D2-91E8-416D-9A32-DDFE956D312A}" srcOrd="2" destOrd="0" presId="urn:microsoft.com/office/officeart/2005/8/layout/vList5"/>
    <dgm:cxn modelId="{414BF0CA-D605-4863-BC95-FA4F0E8A9290}" type="presParOf" srcId="{D2F3D8D2-91E8-416D-9A32-DDFE956D312A}" destId="{AAD31C3D-7ADE-4C83-B6FB-6BC8823CD1B1}" srcOrd="0" destOrd="0" presId="urn:microsoft.com/office/officeart/2005/8/layout/vList5"/>
    <dgm:cxn modelId="{1C1631D1-57F8-4B65-A078-3E3F1574C328}" type="presParOf" srcId="{D2F3D8D2-91E8-416D-9A32-DDFE956D312A}" destId="{0B85CB58-2C90-4CAF-A880-90BFD8247626}" srcOrd="1" destOrd="0" presId="urn:microsoft.com/office/officeart/2005/8/layout/vList5"/>
    <dgm:cxn modelId="{D1B78AB9-B703-417F-A871-B72EB02CC50F}" type="presParOf" srcId="{41F8C76C-D8CD-458D-AE2A-BADC5F194AC8}" destId="{24A0B9F4-DF40-423B-B8EA-0E7E3D4544AD}" srcOrd="3" destOrd="0" presId="urn:microsoft.com/office/officeart/2005/8/layout/vList5"/>
    <dgm:cxn modelId="{169C0D7A-8393-4CC5-8EDB-DB621C78A3E4}" type="presParOf" srcId="{41F8C76C-D8CD-458D-AE2A-BADC5F194AC8}" destId="{098B7C3F-4DA9-4C07-B318-3CECE0C50441}" srcOrd="4" destOrd="0" presId="urn:microsoft.com/office/officeart/2005/8/layout/vList5"/>
    <dgm:cxn modelId="{5ED19B9F-B2AD-4A35-9050-4DABD15FB407}" type="presParOf" srcId="{098B7C3F-4DA9-4C07-B318-3CECE0C50441}" destId="{2553AE57-7F9B-4AEC-B14F-8816CD63B2A4}" srcOrd="0" destOrd="0" presId="urn:microsoft.com/office/officeart/2005/8/layout/vList5"/>
    <dgm:cxn modelId="{41A3B387-40D9-429B-9FF9-5350E67DF802}" type="presParOf" srcId="{098B7C3F-4DA9-4C07-B318-3CECE0C50441}" destId="{6E1ED42A-E1BD-4DF7-9A17-C2EB1B25E5A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B078C26-0D90-47EA-AA9E-248EB74BB168}"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D1B7CB69-3F2E-4B80-BED7-B2A1DD87588E}">
      <dgm:prSet/>
      <dgm:spPr/>
      <dgm:t>
        <a:bodyPr/>
        <a:lstStyle/>
        <a:p>
          <a:r>
            <a:rPr lang="en-US"/>
            <a:t>Requirements</a:t>
          </a:r>
        </a:p>
      </dgm:t>
    </dgm:pt>
    <dgm:pt modelId="{764D1060-16F7-4688-B80B-CC838D2ABAF1}" type="parTrans" cxnId="{91214775-DBEC-4EB9-A3FB-44C3EBE1EA76}">
      <dgm:prSet/>
      <dgm:spPr/>
      <dgm:t>
        <a:bodyPr/>
        <a:lstStyle/>
        <a:p>
          <a:endParaRPr lang="en-US"/>
        </a:p>
      </dgm:t>
    </dgm:pt>
    <dgm:pt modelId="{50B0A58A-8B16-40B0-8D9A-0C44A9D7E3F0}" type="sibTrans" cxnId="{91214775-DBEC-4EB9-A3FB-44C3EBE1EA76}">
      <dgm:prSet/>
      <dgm:spPr/>
      <dgm:t>
        <a:bodyPr/>
        <a:lstStyle/>
        <a:p>
          <a:endParaRPr lang="en-US"/>
        </a:p>
      </dgm:t>
    </dgm:pt>
    <dgm:pt modelId="{23D30B12-EE50-4999-98EA-2FEF71CDDA04}">
      <dgm:prSet/>
      <dgm:spPr/>
      <dgm:t>
        <a:bodyPr/>
        <a:lstStyle/>
        <a:p>
          <a:r>
            <a:rPr lang="en-US"/>
            <a:t>Have an Azure subscription</a:t>
          </a:r>
        </a:p>
      </dgm:t>
    </dgm:pt>
    <dgm:pt modelId="{588569AE-BFCA-46D2-92B6-D4B6DBC9BD9C}" type="parTrans" cxnId="{001B2B57-0D5E-46A0-A5B6-CD551098D6F1}">
      <dgm:prSet/>
      <dgm:spPr/>
      <dgm:t>
        <a:bodyPr/>
        <a:lstStyle/>
        <a:p>
          <a:endParaRPr lang="en-US"/>
        </a:p>
      </dgm:t>
    </dgm:pt>
    <dgm:pt modelId="{363310C8-B964-4AE8-892B-E4796C79A868}" type="sibTrans" cxnId="{001B2B57-0D5E-46A0-A5B6-CD551098D6F1}">
      <dgm:prSet/>
      <dgm:spPr/>
      <dgm:t>
        <a:bodyPr/>
        <a:lstStyle/>
        <a:p>
          <a:endParaRPr lang="en-US"/>
        </a:p>
      </dgm:t>
    </dgm:pt>
    <dgm:pt modelId="{D26803C7-6498-4BD6-A101-C71D0F1ECAC5}">
      <dgm:prSet/>
      <dgm:spPr/>
      <dgm:t>
        <a:bodyPr/>
        <a:lstStyle/>
        <a:p>
          <a:r>
            <a:rPr lang="en-US"/>
            <a:t>Have permission to purchase from Azure Marketplace</a:t>
          </a:r>
        </a:p>
      </dgm:t>
    </dgm:pt>
    <dgm:pt modelId="{73CAF442-0819-4059-8AAD-7AA16F1A00AE}" type="parTrans" cxnId="{2C966541-A2E6-4DE2-9CA4-BCC5A515B611}">
      <dgm:prSet/>
      <dgm:spPr/>
      <dgm:t>
        <a:bodyPr/>
        <a:lstStyle/>
        <a:p>
          <a:endParaRPr lang="en-US"/>
        </a:p>
      </dgm:t>
    </dgm:pt>
    <dgm:pt modelId="{8715E3CA-DBF7-4E18-80CD-F0625D1530EF}" type="sibTrans" cxnId="{2C966541-A2E6-4DE2-9CA4-BCC5A515B611}">
      <dgm:prSet/>
      <dgm:spPr/>
      <dgm:t>
        <a:bodyPr/>
        <a:lstStyle/>
        <a:p>
          <a:endParaRPr lang="en-US"/>
        </a:p>
      </dgm:t>
    </dgm:pt>
    <dgm:pt modelId="{C96BC5D1-37DA-4B75-A74D-F8FED5B23EB0}">
      <dgm:prSet/>
      <dgm:spPr/>
      <dgm:t>
        <a:bodyPr/>
        <a:lstStyle/>
        <a:p>
          <a:r>
            <a:rPr lang="en-US"/>
            <a:t>Images have different costs</a:t>
          </a:r>
        </a:p>
      </dgm:t>
    </dgm:pt>
    <dgm:pt modelId="{A6018E90-8407-4CA8-B194-81A2FE3BCB52}" type="parTrans" cxnId="{7A21E57C-CB11-47CF-98EC-5A7F247E8C4E}">
      <dgm:prSet/>
      <dgm:spPr/>
      <dgm:t>
        <a:bodyPr/>
        <a:lstStyle/>
        <a:p>
          <a:endParaRPr lang="en-US"/>
        </a:p>
      </dgm:t>
    </dgm:pt>
    <dgm:pt modelId="{3334CF9D-BA6E-4639-A7CC-3BD748CB0801}" type="sibTrans" cxnId="{7A21E57C-CB11-47CF-98EC-5A7F247E8C4E}">
      <dgm:prSet/>
      <dgm:spPr/>
      <dgm:t>
        <a:bodyPr/>
        <a:lstStyle/>
        <a:p>
          <a:endParaRPr lang="en-US"/>
        </a:p>
      </dgm:t>
    </dgm:pt>
    <dgm:pt modelId="{158C1AB7-654E-4BA9-B89C-C4FCB3F82E6E}">
      <dgm:prSet/>
      <dgm:spPr/>
      <dgm:t>
        <a:bodyPr/>
        <a:lstStyle/>
        <a:p>
          <a:r>
            <a:rPr lang="en-US"/>
            <a:t>Size of VM – vCores, RAM, drive space</a:t>
          </a:r>
        </a:p>
      </dgm:t>
    </dgm:pt>
    <dgm:pt modelId="{22196C07-40D6-4AD1-A746-CE3C521C2208}" type="parTrans" cxnId="{A1851F70-80A5-4A9D-ABD3-591D44DEB1C2}">
      <dgm:prSet/>
      <dgm:spPr/>
      <dgm:t>
        <a:bodyPr/>
        <a:lstStyle/>
        <a:p>
          <a:endParaRPr lang="en-US"/>
        </a:p>
      </dgm:t>
    </dgm:pt>
    <dgm:pt modelId="{2DA06EFA-FABC-4807-A109-6D64593CE668}" type="sibTrans" cxnId="{A1851F70-80A5-4A9D-ABD3-591D44DEB1C2}">
      <dgm:prSet/>
      <dgm:spPr/>
      <dgm:t>
        <a:bodyPr/>
        <a:lstStyle/>
        <a:p>
          <a:endParaRPr lang="en-US"/>
        </a:p>
      </dgm:t>
    </dgm:pt>
    <dgm:pt modelId="{1036DC30-68B8-4E43-A018-C936A84536B2}">
      <dgm:prSet/>
      <dgm:spPr/>
      <dgm:t>
        <a:bodyPr/>
        <a:lstStyle/>
        <a:p>
          <a:r>
            <a:rPr lang="en-US"/>
            <a:t>Operating systems</a:t>
          </a:r>
        </a:p>
      </dgm:t>
    </dgm:pt>
    <dgm:pt modelId="{FE0BC4C9-6046-4387-81F4-90DB072C8D08}" type="parTrans" cxnId="{DC51F247-B2A4-440D-AAED-71F01441322E}">
      <dgm:prSet/>
      <dgm:spPr/>
      <dgm:t>
        <a:bodyPr/>
        <a:lstStyle/>
        <a:p>
          <a:endParaRPr lang="en-US"/>
        </a:p>
      </dgm:t>
    </dgm:pt>
    <dgm:pt modelId="{BABB285F-22B4-4D14-B331-1AFDB1021C27}" type="sibTrans" cxnId="{DC51F247-B2A4-440D-AAED-71F01441322E}">
      <dgm:prSet/>
      <dgm:spPr/>
      <dgm:t>
        <a:bodyPr/>
        <a:lstStyle/>
        <a:p>
          <a:endParaRPr lang="en-US"/>
        </a:p>
      </dgm:t>
    </dgm:pt>
    <dgm:pt modelId="{EAE78251-F793-4030-9B56-06D4A8A52BDA}">
      <dgm:prSet/>
      <dgm:spPr/>
      <dgm:t>
        <a:bodyPr/>
        <a:lstStyle/>
        <a:p>
          <a:r>
            <a:rPr lang="en-US"/>
            <a:t>Windows Server</a:t>
          </a:r>
        </a:p>
      </dgm:t>
    </dgm:pt>
    <dgm:pt modelId="{ADC5A13A-4647-45C7-8B22-C90258254ED4}" type="parTrans" cxnId="{83F50568-A4F1-42FF-93F9-24731ADF92F5}">
      <dgm:prSet/>
      <dgm:spPr/>
      <dgm:t>
        <a:bodyPr/>
        <a:lstStyle/>
        <a:p>
          <a:endParaRPr lang="en-US"/>
        </a:p>
      </dgm:t>
    </dgm:pt>
    <dgm:pt modelId="{9DAC8C2E-C4FC-47BA-9032-7E595F0D3DA6}" type="sibTrans" cxnId="{83F50568-A4F1-42FF-93F9-24731ADF92F5}">
      <dgm:prSet/>
      <dgm:spPr/>
      <dgm:t>
        <a:bodyPr/>
        <a:lstStyle/>
        <a:p>
          <a:endParaRPr lang="en-US"/>
        </a:p>
      </dgm:t>
    </dgm:pt>
    <dgm:pt modelId="{6B69E990-96F8-4BF7-87F7-3F68063589E4}">
      <dgm:prSet/>
      <dgm:spPr/>
      <dgm:t>
        <a:bodyPr/>
        <a:lstStyle/>
        <a:p>
          <a:r>
            <a:rPr lang="en-US"/>
            <a:t>Windows Client</a:t>
          </a:r>
        </a:p>
      </dgm:t>
    </dgm:pt>
    <dgm:pt modelId="{3B743B31-B73A-4D93-857F-3E4B42D378A4}" type="parTrans" cxnId="{DF29B736-760F-447A-94B9-DA6A941BD691}">
      <dgm:prSet/>
      <dgm:spPr/>
      <dgm:t>
        <a:bodyPr/>
        <a:lstStyle/>
        <a:p>
          <a:endParaRPr lang="en-US"/>
        </a:p>
      </dgm:t>
    </dgm:pt>
    <dgm:pt modelId="{CCD4B7AA-E8ED-4B86-939E-89BD58CD74A8}" type="sibTrans" cxnId="{DF29B736-760F-447A-94B9-DA6A941BD691}">
      <dgm:prSet/>
      <dgm:spPr/>
      <dgm:t>
        <a:bodyPr/>
        <a:lstStyle/>
        <a:p>
          <a:endParaRPr lang="en-US"/>
        </a:p>
      </dgm:t>
    </dgm:pt>
    <dgm:pt modelId="{46DEE431-D932-4222-8BA6-BD9423CC0A3E}">
      <dgm:prSet/>
      <dgm:spPr/>
      <dgm:t>
        <a:bodyPr/>
        <a:lstStyle/>
        <a:p>
          <a:r>
            <a:rPr lang="en-US"/>
            <a:t>Linux distributions</a:t>
          </a:r>
        </a:p>
      </dgm:t>
    </dgm:pt>
    <dgm:pt modelId="{25F65D24-E499-4AF2-8F37-C7BF25119348}" type="parTrans" cxnId="{076E24B2-F335-4307-A3A2-207D4D08F2A5}">
      <dgm:prSet/>
      <dgm:spPr/>
      <dgm:t>
        <a:bodyPr/>
        <a:lstStyle/>
        <a:p>
          <a:endParaRPr lang="en-US"/>
        </a:p>
      </dgm:t>
    </dgm:pt>
    <dgm:pt modelId="{D950FF82-5B47-497E-B1F4-DAE89FB79626}" type="sibTrans" cxnId="{076E24B2-F335-4307-A3A2-207D4D08F2A5}">
      <dgm:prSet/>
      <dgm:spPr/>
      <dgm:t>
        <a:bodyPr/>
        <a:lstStyle/>
        <a:p>
          <a:endParaRPr lang="en-US"/>
        </a:p>
      </dgm:t>
    </dgm:pt>
    <dgm:pt modelId="{DD8D2D4D-B8ED-4281-AEBA-64728742D586}">
      <dgm:prSet/>
      <dgm:spPr/>
      <dgm:t>
        <a:bodyPr/>
        <a:lstStyle/>
        <a:p>
          <a:r>
            <a:rPr lang="en-US"/>
            <a:t>Steps to purchase</a:t>
          </a:r>
        </a:p>
      </dgm:t>
    </dgm:pt>
    <dgm:pt modelId="{59F67C35-ECD5-4EE2-B5D1-415098B9C7E6}" type="parTrans" cxnId="{0DC4C76C-B217-4A9B-AD54-2E2A0C54D92B}">
      <dgm:prSet/>
      <dgm:spPr/>
      <dgm:t>
        <a:bodyPr/>
        <a:lstStyle/>
        <a:p>
          <a:endParaRPr lang="en-US"/>
        </a:p>
      </dgm:t>
    </dgm:pt>
    <dgm:pt modelId="{7D840010-C704-41D2-A49E-C9A21ACFC469}" type="sibTrans" cxnId="{0DC4C76C-B217-4A9B-AD54-2E2A0C54D92B}">
      <dgm:prSet/>
      <dgm:spPr/>
      <dgm:t>
        <a:bodyPr/>
        <a:lstStyle/>
        <a:p>
          <a:endParaRPr lang="en-US"/>
        </a:p>
      </dgm:t>
    </dgm:pt>
    <dgm:pt modelId="{1B246710-70D4-4835-A654-C2C5970EC502}">
      <dgm:prSet/>
      <dgm:spPr/>
      <dgm:t>
        <a:bodyPr/>
        <a:lstStyle/>
        <a:p>
          <a:r>
            <a:rPr lang="en-US">
              <a:hlinkClick xmlns:r="http://schemas.openxmlformats.org/officeDocument/2006/relationships" r:id="rId1"/>
            </a:rPr>
            <a:t>https://portal.azure.com</a:t>
          </a:r>
          <a:r>
            <a:rPr lang="en-US"/>
            <a:t> </a:t>
          </a:r>
        </a:p>
      </dgm:t>
    </dgm:pt>
    <dgm:pt modelId="{819B7E52-44FC-4A91-A4DC-947DAE6F7626}" type="parTrans" cxnId="{321E2737-BBF7-4EB6-BD8A-05AF90F250E1}">
      <dgm:prSet/>
      <dgm:spPr/>
      <dgm:t>
        <a:bodyPr/>
        <a:lstStyle/>
        <a:p>
          <a:endParaRPr lang="en-US"/>
        </a:p>
      </dgm:t>
    </dgm:pt>
    <dgm:pt modelId="{22891F87-7682-4BB3-BA87-E8A89ADA1507}" type="sibTrans" cxnId="{321E2737-BBF7-4EB6-BD8A-05AF90F250E1}">
      <dgm:prSet/>
      <dgm:spPr/>
      <dgm:t>
        <a:bodyPr/>
        <a:lstStyle/>
        <a:p>
          <a:endParaRPr lang="en-US"/>
        </a:p>
      </dgm:t>
    </dgm:pt>
    <dgm:pt modelId="{CAE63069-538A-439E-A4E5-3213FD702740}" type="pres">
      <dgm:prSet presAssocID="{1B078C26-0D90-47EA-AA9E-248EB74BB168}" presName="Name0" presStyleCnt="0">
        <dgm:presLayoutVars>
          <dgm:dir/>
          <dgm:animLvl val="lvl"/>
          <dgm:resizeHandles val="exact"/>
        </dgm:presLayoutVars>
      </dgm:prSet>
      <dgm:spPr/>
    </dgm:pt>
    <dgm:pt modelId="{BFB7BE05-D9FD-41F0-8360-129874A82501}" type="pres">
      <dgm:prSet presAssocID="{D1B7CB69-3F2E-4B80-BED7-B2A1DD87588E}" presName="linNode" presStyleCnt="0"/>
      <dgm:spPr/>
    </dgm:pt>
    <dgm:pt modelId="{C29DC169-38AE-4F26-AC96-DDE36686F37D}" type="pres">
      <dgm:prSet presAssocID="{D1B7CB69-3F2E-4B80-BED7-B2A1DD87588E}" presName="parentText" presStyleLbl="node1" presStyleIdx="0" presStyleCnt="3">
        <dgm:presLayoutVars>
          <dgm:chMax val="1"/>
          <dgm:bulletEnabled val="1"/>
        </dgm:presLayoutVars>
      </dgm:prSet>
      <dgm:spPr/>
    </dgm:pt>
    <dgm:pt modelId="{54CC4ACC-2BFC-49E4-9A40-C9A80A9F2728}" type="pres">
      <dgm:prSet presAssocID="{D1B7CB69-3F2E-4B80-BED7-B2A1DD87588E}" presName="descendantText" presStyleLbl="alignAccFollowNode1" presStyleIdx="0" presStyleCnt="3">
        <dgm:presLayoutVars>
          <dgm:bulletEnabled val="1"/>
        </dgm:presLayoutVars>
      </dgm:prSet>
      <dgm:spPr/>
    </dgm:pt>
    <dgm:pt modelId="{9D65382F-89E7-43AC-BC24-79FE539CA80A}" type="pres">
      <dgm:prSet presAssocID="{50B0A58A-8B16-40B0-8D9A-0C44A9D7E3F0}" presName="sp" presStyleCnt="0"/>
      <dgm:spPr/>
    </dgm:pt>
    <dgm:pt modelId="{8208121D-A2D5-4D65-9A19-74A4B0F687C6}" type="pres">
      <dgm:prSet presAssocID="{C96BC5D1-37DA-4B75-A74D-F8FED5B23EB0}" presName="linNode" presStyleCnt="0"/>
      <dgm:spPr/>
    </dgm:pt>
    <dgm:pt modelId="{74247D1F-5644-4C65-964E-6973B989476C}" type="pres">
      <dgm:prSet presAssocID="{C96BC5D1-37DA-4B75-A74D-F8FED5B23EB0}" presName="parentText" presStyleLbl="node1" presStyleIdx="1" presStyleCnt="3">
        <dgm:presLayoutVars>
          <dgm:chMax val="1"/>
          <dgm:bulletEnabled val="1"/>
        </dgm:presLayoutVars>
      </dgm:prSet>
      <dgm:spPr/>
    </dgm:pt>
    <dgm:pt modelId="{B047D45A-07A4-47C2-A3E4-56F64694BBF7}" type="pres">
      <dgm:prSet presAssocID="{C96BC5D1-37DA-4B75-A74D-F8FED5B23EB0}" presName="descendantText" presStyleLbl="alignAccFollowNode1" presStyleIdx="1" presStyleCnt="3">
        <dgm:presLayoutVars>
          <dgm:bulletEnabled val="1"/>
        </dgm:presLayoutVars>
      </dgm:prSet>
      <dgm:spPr/>
    </dgm:pt>
    <dgm:pt modelId="{6448E296-B97A-49A1-BD93-FAF9664F12C6}" type="pres">
      <dgm:prSet presAssocID="{3334CF9D-BA6E-4639-A7CC-3BD748CB0801}" presName="sp" presStyleCnt="0"/>
      <dgm:spPr/>
    </dgm:pt>
    <dgm:pt modelId="{C2670BB5-01F8-4E8D-9F39-B4EDD2FFFEFC}" type="pres">
      <dgm:prSet presAssocID="{DD8D2D4D-B8ED-4281-AEBA-64728742D586}" presName="linNode" presStyleCnt="0"/>
      <dgm:spPr/>
    </dgm:pt>
    <dgm:pt modelId="{01B08FE3-A3C7-4EB1-A956-022014E84DD1}" type="pres">
      <dgm:prSet presAssocID="{DD8D2D4D-B8ED-4281-AEBA-64728742D586}" presName="parentText" presStyleLbl="node1" presStyleIdx="2" presStyleCnt="3">
        <dgm:presLayoutVars>
          <dgm:chMax val="1"/>
          <dgm:bulletEnabled val="1"/>
        </dgm:presLayoutVars>
      </dgm:prSet>
      <dgm:spPr/>
    </dgm:pt>
    <dgm:pt modelId="{4FA615A1-1FE4-46D7-AF66-5EAB68127F7C}" type="pres">
      <dgm:prSet presAssocID="{DD8D2D4D-B8ED-4281-AEBA-64728742D586}" presName="descendantText" presStyleLbl="alignAccFollowNode1" presStyleIdx="2" presStyleCnt="3">
        <dgm:presLayoutVars>
          <dgm:bulletEnabled val="1"/>
        </dgm:presLayoutVars>
      </dgm:prSet>
      <dgm:spPr/>
    </dgm:pt>
  </dgm:ptLst>
  <dgm:cxnLst>
    <dgm:cxn modelId="{DF29B736-760F-447A-94B9-DA6A941BD691}" srcId="{1036DC30-68B8-4E43-A018-C936A84536B2}" destId="{6B69E990-96F8-4BF7-87F7-3F68063589E4}" srcOrd="1" destOrd="0" parTransId="{3B743B31-B73A-4D93-857F-3E4B42D378A4}" sibTransId="{CCD4B7AA-E8ED-4B86-939E-89BD58CD74A8}"/>
    <dgm:cxn modelId="{321E2737-BBF7-4EB6-BD8A-05AF90F250E1}" srcId="{DD8D2D4D-B8ED-4281-AEBA-64728742D586}" destId="{1B246710-70D4-4835-A654-C2C5970EC502}" srcOrd="0" destOrd="0" parTransId="{819B7E52-44FC-4A91-A4DC-947DAE6F7626}" sibTransId="{22891F87-7682-4BB3-BA87-E8A89ADA1507}"/>
    <dgm:cxn modelId="{8653065E-938E-43B7-BF26-B7F17EA1ADEE}" type="presOf" srcId="{6B69E990-96F8-4BF7-87F7-3F68063589E4}" destId="{B047D45A-07A4-47C2-A3E4-56F64694BBF7}" srcOrd="0" destOrd="3" presId="urn:microsoft.com/office/officeart/2005/8/layout/vList5"/>
    <dgm:cxn modelId="{2C966541-A2E6-4DE2-9CA4-BCC5A515B611}" srcId="{D1B7CB69-3F2E-4B80-BED7-B2A1DD87588E}" destId="{D26803C7-6498-4BD6-A101-C71D0F1ECAC5}" srcOrd="1" destOrd="0" parTransId="{73CAF442-0819-4059-8AAD-7AA16F1A00AE}" sibTransId="{8715E3CA-DBF7-4E18-80CD-F0625D1530EF}"/>
    <dgm:cxn modelId="{97D1B762-4B9B-4F98-9970-56E75826FA4D}" type="presOf" srcId="{D1B7CB69-3F2E-4B80-BED7-B2A1DD87588E}" destId="{C29DC169-38AE-4F26-AC96-DDE36686F37D}" srcOrd="0" destOrd="0" presId="urn:microsoft.com/office/officeart/2005/8/layout/vList5"/>
    <dgm:cxn modelId="{5EB8CC64-6792-4304-9041-A9DE193AEAB2}" type="presOf" srcId="{46DEE431-D932-4222-8BA6-BD9423CC0A3E}" destId="{B047D45A-07A4-47C2-A3E4-56F64694BBF7}" srcOrd="0" destOrd="4" presId="urn:microsoft.com/office/officeart/2005/8/layout/vList5"/>
    <dgm:cxn modelId="{01028246-32A4-4BA8-BD94-6B7F0B133772}" type="presOf" srcId="{23D30B12-EE50-4999-98EA-2FEF71CDDA04}" destId="{54CC4ACC-2BFC-49E4-9A40-C9A80A9F2728}" srcOrd="0" destOrd="0" presId="urn:microsoft.com/office/officeart/2005/8/layout/vList5"/>
    <dgm:cxn modelId="{DC51F247-B2A4-440D-AAED-71F01441322E}" srcId="{C96BC5D1-37DA-4B75-A74D-F8FED5B23EB0}" destId="{1036DC30-68B8-4E43-A018-C936A84536B2}" srcOrd="1" destOrd="0" parTransId="{FE0BC4C9-6046-4387-81F4-90DB072C8D08}" sibTransId="{BABB285F-22B4-4D14-B331-1AFDB1021C27}"/>
    <dgm:cxn modelId="{83F50568-A4F1-42FF-93F9-24731ADF92F5}" srcId="{1036DC30-68B8-4E43-A018-C936A84536B2}" destId="{EAE78251-F793-4030-9B56-06D4A8A52BDA}" srcOrd="0" destOrd="0" parTransId="{ADC5A13A-4647-45C7-8B22-C90258254ED4}" sibTransId="{9DAC8C2E-C4FC-47BA-9032-7E595F0D3DA6}"/>
    <dgm:cxn modelId="{0DC4C76C-B217-4A9B-AD54-2E2A0C54D92B}" srcId="{1B078C26-0D90-47EA-AA9E-248EB74BB168}" destId="{DD8D2D4D-B8ED-4281-AEBA-64728742D586}" srcOrd="2" destOrd="0" parTransId="{59F67C35-ECD5-4EE2-B5D1-415098B9C7E6}" sibTransId="{7D840010-C704-41D2-A49E-C9A21ACFC469}"/>
    <dgm:cxn modelId="{9D16876F-35C3-4A51-831E-46B4C9AB89F9}" type="presOf" srcId="{D26803C7-6498-4BD6-A101-C71D0F1ECAC5}" destId="{54CC4ACC-2BFC-49E4-9A40-C9A80A9F2728}" srcOrd="0" destOrd="1" presId="urn:microsoft.com/office/officeart/2005/8/layout/vList5"/>
    <dgm:cxn modelId="{A1851F70-80A5-4A9D-ABD3-591D44DEB1C2}" srcId="{C96BC5D1-37DA-4B75-A74D-F8FED5B23EB0}" destId="{158C1AB7-654E-4BA9-B89C-C4FCB3F82E6E}" srcOrd="0" destOrd="0" parTransId="{22196C07-40D6-4AD1-A746-CE3C521C2208}" sibTransId="{2DA06EFA-FABC-4807-A109-6D64593CE668}"/>
    <dgm:cxn modelId="{40C0A870-DA01-4EC7-8CA9-9C2AED671874}" type="presOf" srcId="{1036DC30-68B8-4E43-A018-C936A84536B2}" destId="{B047D45A-07A4-47C2-A3E4-56F64694BBF7}" srcOrd="0" destOrd="1" presId="urn:microsoft.com/office/officeart/2005/8/layout/vList5"/>
    <dgm:cxn modelId="{91214775-DBEC-4EB9-A3FB-44C3EBE1EA76}" srcId="{1B078C26-0D90-47EA-AA9E-248EB74BB168}" destId="{D1B7CB69-3F2E-4B80-BED7-B2A1DD87588E}" srcOrd="0" destOrd="0" parTransId="{764D1060-16F7-4688-B80B-CC838D2ABAF1}" sibTransId="{50B0A58A-8B16-40B0-8D9A-0C44A9D7E3F0}"/>
    <dgm:cxn modelId="{001B2B57-0D5E-46A0-A5B6-CD551098D6F1}" srcId="{D1B7CB69-3F2E-4B80-BED7-B2A1DD87588E}" destId="{23D30B12-EE50-4999-98EA-2FEF71CDDA04}" srcOrd="0" destOrd="0" parTransId="{588569AE-BFCA-46D2-92B6-D4B6DBC9BD9C}" sibTransId="{363310C8-B964-4AE8-892B-E4796C79A868}"/>
    <dgm:cxn modelId="{7A21E57C-CB11-47CF-98EC-5A7F247E8C4E}" srcId="{1B078C26-0D90-47EA-AA9E-248EB74BB168}" destId="{C96BC5D1-37DA-4B75-A74D-F8FED5B23EB0}" srcOrd="1" destOrd="0" parTransId="{A6018E90-8407-4CA8-B194-81A2FE3BCB52}" sibTransId="{3334CF9D-BA6E-4639-A7CC-3BD748CB0801}"/>
    <dgm:cxn modelId="{8F3BCC8E-4696-4BCD-8847-60883D79BD26}" type="presOf" srcId="{158C1AB7-654E-4BA9-B89C-C4FCB3F82E6E}" destId="{B047D45A-07A4-47C2-A3E4-56F64694BBF7}" srcOrd="0" destOrd="0" presId="urn:microsoft.com/office/officeart/2005/8/layout/vList5"/>
    <dgm:cxn modelId="{B126459D-1A34-4B69-BB0C-D1A110465C48}" type="presOf" srcId="{C96BC5D1-37DA-4B75-A74D-F8FED5B23EB0}" destId="{74247D1F-5644-4C65-964E-6973B989476C}" srcOrd="0" destOrd="0" presId="urn:microsoft.com/office/officeart/2005/8/layout/vList5"/>
    <dgm:cxn modelId="{076E24B2-F335-4307-A3A2-207D4D08F2A5}" srcId="{1036DC30-68B8-4E43-A018-C936A84536B2}" destId="{46DEE431-D932-4222-8BA6-BD9423CC0A3E}" srcOrd="2" destOrd="0" parTransId="{25F65D24-E499-4AF2-8F37-C7BF25119348}" sibTransId="{D950FF82-5B47-497E-B1F4-DAE89FB79626}"/>
    <dgm:cxn modelId="{547CCDC2-7F05-4683-96C1-29C154CBE917}" type="presOf" srcId="{EAE78251-F793-4030-9B56-06D4A8A52BDA}" destId="{B047D45A-07A4-47C2-A3E4-56F64694BBF7}" srcOrd="0" destOrd="2" presId="urn:microsoft.com/office/officeart/2005/8/layout/vList5"/>
    <dgm:cxn modelId="{2B1D6BD9-32E0-471B-9867-2FBCF432FD99}" type="presOf" srcId="{1B246710-70D4-4835-A654-C2C5970EC502}" destId="{4FA615A1-1FE4-46D7-AF66-5EAB68127F7C}" srcOrd="0" destOrd="0" presId="urn:microsoft.com/office/officeart/2005/8/layout/vList5"/>
    <dgm:cxn modelId="{2018D3EF-490D-440D-AD07-F8A53FA1844B}" type="presOf" srcId="{1B078C26-0D90-47EA-AA9E-248EB74BB168}" destId="{CAE63069-538A-439E-A4E5-3213FD702740}" srcOrd="0" destOrd="0" presId="urn:microsoft.com/office/officeart/2005/8/layout/vList5"/>
    <dgm:cxn modelId="{5FDD70FE-90D9-4712-B816-15DB5DB22EDD}" type="presOf" srcId="{DD8D2D4D-B8ED-4281-AEBA-64728742D586}" destId="{01B08FE3-A3C7-4EB1-A956-022014E84DD1}" srcOrd="0" destOrd="0" presId="urn:microsoft.com/office/officeart/2005/8/layout/vList5"/>
    <dgm:cxn modelId="{8CA6DC69-4B90-433E-901A-DE9B6F3A0E29}" type="presParOf" srcId="{CAE63069-538A-439E-A4E5-3213FD702740}" destId="{BFB7BE05-D9FD-41F0-8360-129874A82501}" srcOrd="0" destOrd="0" presId="urn:microsoft.com/office/officeart/2005/8/layout/vList5"/>
    <dgm:cxn modelId="{01FA3A0A-97C1-48D7-944D-C4928F1184B2}" type="presParOf" srcId="{BFB7BE05-D9FD-41F0-8360-129874A82501}" destId="{C29DC169-38AE-4F26-AC96-DDE36686F37D}" srcOrd="0" destOrd="0" presId="urn:microsoft.com/office/officeart/2005/8/layout/vList5"/>
    <dgm:cxn modelId="{5304657C-A695-4E3B-B975-EE17BC979F37}" type="presParOf" srcId="{BFB7BE05-D9FD-41F0-8360-129874A82501}" destId="{54CC4ACC-2BFC-49E4-9A40-C9A80A9F2728}" srcOrd="1" destOrd="0" presId="urn:microsoft.com/office/officeart/2005/8/layout/vList5"/>
    <dgm:cxn modelId="{BDC6FEC0-348E-41F6-8B17-ACE626C48E84}" type="presParOf" srcId="{CAE63069-538A-439E-A4E5-3213FD702740}" destId="{9D65382F-89E7-43AC-BC24-79FE539CA80A}" srcOrd="1" destOrd="0" presId="urn:microsoft.com/office/officeart/2005/8/layout/vList5"/>
    <dgm:cxn modelId="{047BF9BF-5BE9-4695-94AE-DD33342E9313}" type="presParOf" srcId="{CAE63069-538A-439E-A4E5-3213FD702740}" destId="{8208121D-A2D5-4D65-9A19-74A4B0F687C6}" srcOrd="2" destOrd="0" presId="urn:microsoft.com/office/officeart/2005/8/layout/vList5"/>
    <dgm:cxn modelId="{48D5C0DA-DF93-484D-93EB-93B6C6ACAEB9}" type="presParOf" srcId="{8208121D-A2D5-4D65-9A19-74A4B0F687C6}" destId="{74247D1F-5644-4C65-964E-6973B989476C}" srcOrd="0" destOrd="0" presId="urn:microsoft.com/office/officeart/2005/8/layout/vList5"/>
    <dgm:cxn modelId="{DE052E91-E4F6-44E9-86CF-A5C36EB4115B}" type="presParOf" srcId="{8208121D-A2D5-4D65-9A19-74A4B0F687C6}" destId="{B047D45A-07A4-47C2-A3E4-56F64694BBF7}" srcOrd="1" destOrd="0" presId="urn:microsoft.com/office/officeart/2005/8/layout/vList5"/>
    <dgm:cxn modelId="{C299E72A-04DA-4194-82D6-697828AA94AE}" type="presParOf" srcId="{CAE63069-538A-439E-A4E5-3213FD702740}" destId="{6448E296-B97A-49A1-BD93-FAF9664F12C6}" srcOrd="3" destOrd="0" presId="urn:microsoft.com/office/officeart/2005/8/layout/vList5"/>
    <dgm:cxn modelId="{19BE0A38-744F-4660-BE94-21930395243A}" type="presParOf" srcId="{CAE63069-538A-439E-A4E5-3213FD702740}" destId="{C2670BB5-01F8-4E8D-9F39-B4EDD2FFFEFC}" srcOrd="4" destOrd="0" presId="urn:microsoft.com/office/officeart/2005/8/layout/vList5"/>
    <dgm:cxn modelId="{E06B7206-AF8A-40DD-AB00-B8DFC111C9D8}" type="presParOf" srcId="{C2670BB5-01F8-4E8D-9F39-B4EDD2FFFEFC}" destId="{01B08FE3-A3C7-4EB1-A956-022014E84DD1}" srcOrd="0" destOrd="0" presId="urn:microsoft.com/office/officeart/2005/8/layout/vList5"/>
    <dgm:cxn modelId="{8285B606-10D4-4444-90ED-2573BB501BE4}" type="presParOf" srcId="{C2670BB5-01F8-4E8D-9F39-B4EDD2FFFEFC}" destId="{4FA615A1-1FE4-46D7-AF66-5EAB68127F7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0F82A4-A1C0-43AF-8189-756E948F4899}">
      <dsp:nvSpPr>
        <dsp:cNvPr id="0" name=""/>
        <dsp:cNvSpPr/>
      </dsp:nvSpPr>
      <dsp:spPr>
        <a:xfrm rot="5400000">
          <a:off x="6549625" y="-2346988"/>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Searchable tool</a:t>
          </a:r>
        </a:p>
        <a:p>
          <a:pPr marL="171450" lvl="1" indent="-171450" algn="l" defTabSz="844550">
            <a:lnSpc>
              <a:spcPct val="90000"/>
            </a:lnSpc>
            <a:spcBef>
              <a:spcPct val="0"/>
            </a:spcBef>
            <a:spcAft>
              <a:spcPct val="15000"/>
            </a:spcAft>
            <a:buChar char="•"/>
          </a:pPr>
          <a:r>
            <a:rPr lang="en-US" sz="1900" kern="1200"/>
            <a:t>Trial licenses available</a:t>
          </a:r>
        </a:p>
        <a:p>
          <a:pPr marL="171450" lvl="1" indent="-171450" algn="l" defTabSz="844550">
            <a:lnSpc>
              <a:spcPct val="90000"/>
            </a:lnSpc>
            <a:spcBef>
              <a:spcPct val="0"/>
            </a:spcBef>
            <a:spcAft>
              <a:spcPct val="15000"/>
            </a:spcAft>
            <a:buChar char="•"/>
          </a:pPr>
          <a:r>
            <a:rPr lang="en-US" sz="1900" kern="1200"/>
            <a:t>Easily buy and deploy solutions</a:t>
          </a:r>
        </a:p>
        <a:p>
          <a:pPr marL="171450" lvl="1" indent="-171450" algn="l" defTabSz="844550">
            <a:lnSpc>
              <a:spcPct val="90000"/>
            </a:lnSpc>
            <a:spcBef>
              <a:spcPct val="0"/>
            </a:spcBef>
            <a:spcAft>
              <a:spcPct val="15000"/>
            </a:spcAft>
            <a:buChar char="•"/>
          </a:pPr>
          <a:r>
            <a:rPr lang="en-US" sz="1900" kern="1200"/>
            <a:t>Use existing Microsoft purchase agreements for consolidated invoice</a:t>
          </a:r>
        </a:p>
      </dsp:txBody>
      <dsp:txXfrm rot="-5400000">
        <a:off x="3966782" y="327940"/>
        <a:ext cx="6959971" cy="1702198"/>
      </dsp:txXfrm>
    </dsp:sp>
    <dsp:sp modelId="{D320E2F0-CCF0-4AF2-9463-C12CAE11DD58}">
      <dsp:nvSpPr>
        <dsp:cNvPr id="0" name=""/>
        <dsp:cNvSpPr/>
      </dsp:nvSpPr>
      <dsp:spPr>
        <a:xfrm>
          <a:off x="0" y="59"/>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Customers</a:t>
          </a:r>
        </a:p>
      </dsp:txBody>
      <dsp:txXfrm>
        <a:off x="115106" y="115165"/>
        <a:ext cx="3736569" cy="2127748"/>
      </dsp:txXfrm>
    </dsp:sp>
    <dsp:sp modelId="{D60B7971-9744-4CAF-A5AE-CAAD9661EF26}">
      <dsp:nvSpPr>
        <dsp:cNvPr id="0" name=""/>
        <dsp:cNvSpPr/>
      </dsp:nvSpPr>
      <dsp:spPr>
        <a:xfrm rot="5400000">
          <a:off x="6549625" y="128870"/>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Test solutions in Microsoft Azure infrastructure</a:t>
          </a:r>
        </a:p>
        <a:p>
          <a:pPr marL="171450" lvl="1" indent="-171450" algn="l" defTabSz="844550">
            <a:lnSpc>
              <a:spcPct val="90000"/>
            </a:lnSpc>
            <a:spcBef>
              <a:spcPct val="0"/>
            </a:spcBef>
            <a:spcAft>
              <a:spcPct val="15000"/>
            </a:spcAft>
            <a:buChar char="•"/>
          </a:pPr>
          <a:r>
            <a:rPr lang="en-US" sz="1900" kern="1200"/>
            <a:t>Create your own offers for an additional sales and marketing channel</a:t>
          </a:r>
        </a:p>
        <a:p>
          <a:pPr marL="171450" lvl="1" indent="-171450" algn="l" defTabSz="844550">
            <a:lnSpc>
              <a:spcPct val="90000"/>
            </a:lnSpc>
            <a:spcBef>
              <a:spcPct val="0"/>
            </a:spcBef>
            <a:spcAft>
              <a:spcPct val="15000"/>
            </a:spcAft>
            <a:buChar char="•"/>
          </a:pPr>
          <a:r>
            <a:rPr lang="en-US" sz="1900" kern="1200"/>
            <a:t>Reach more customers</a:t>
          </a:r>
        </a:p>
      </dsp:txBody>
      <dsp:txXfrm rot="-5400000">
        <a:off x="3966782" y="2803799"/>
        <a:ext cx="6959971" cy="1702198"/>
      </dsp:txXfrm>
    </dsp:sp>
    <dsp:sp modelId="{7896717C-DCF7-431F-A814-13A2C0BF99B3}">
      <dsp:nvSpPr>
        <dsp:cNvPr id="0" name=""/>
        <dsp:cNvSpPr/>
      </dsp:nvSpPr>
      <dsp:spPr>
        <a:xfrm>
          <a:off x="0" y="2475918"/>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Partners</a:t>
          </a:r>
        </a:p>
      </dsp:txBody>
      <dsp:txXfrm>
        <a:off x="115106" y="2591024"/>
        <a:ext cx="3736569" cy="212774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70BEC-6173-4E03-BA35-B9F4930FBEAF}">
      <dsp:nvSpPr>
        <dsp:cNvPr id="0" name=""/>
        <dsp:cNvSpPr/>
      </dsp:nvSpPr>
      <dsp:spPr>
        <a:xfrm>
          <a:off x="3443"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Requirements</a:t>
          </a:r>
          <a:endParaRPr lang="en-US" sz="2500" kern="1200"/>
        </a:p>
      </dsp:txBody>
      <dsp:txXfrm>
        <a:off x="3443" y="71129"/>
        <a:ext cx="3357302" cy="973061"/>
      </dsp:txXfrm>
    </dsp:sp>
    <dsp:sp modelId="{5F19CBB4-8CCA-411A-9DBD-938E9C1C1CF8}">
      <dsp:nvSpPr>
        <dsp:cNvPr id="0" name=""/>
        <dsp:cNvSpPr/>
      </dsp:nvSpPr>
      <dsp:spPr>
        <a:xfrm>
          <a:off x="3443"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Have an Azure subscription</a:t>
          </a:r>
          <a:endParaRPr lang="en-US" sz="2500" kern="1200"/>
        </a:p>
        <a:p>
          <a:pPr marL="228600" lvl="1" indent="-228600" algn="l" defTabSz="1111250">
            <a:lnSpc>
              <a:spcPct val="90000"/>
            </a:lnSpc>
            <a:spcBef>
              <a:spcPct val="0"/>
            </a:spcBef>
            <a:spcAft>
              <a:spcPct val="15000"/>
            </a:spcAft>
            <a:buChar char="•"/>
          </a:pPr>
          <a:r>
            <a:rPr lang="en-US" sz="2500" kern="1200" baseline="0"/>
            <a:t>Have permission to purchase from Azure Marketplace</a:t>
          </a:r>
          <a:endParaRPr lang="en-US" sz="2500" kern="1200"/>
        </a:p>
      </dsp:txBody>
      <dsp:txXfrm>
        <a:off x="3443" y="1044191"/>
        <a:ext cx="3357302" cy="3718617"/>
      </dsp:txXfrm>
    </dsp:sp>
    <dsp:sp modelId="{18897E8A-AF04-4AEF-BDC6-973ECC40234D}">
      <dsp:nvSpPr>
        <dsp:cNvPr id="0" name=""/>
        <dsp:cNvSpPr/>
      </dsp:nvSpPr>
      <dsp:spPr>
        <a:xfrm>
          <a:off x="3830767"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Discovery of SaaS offers through filters</a:t>
          </a:r>
          <a:endParaRPr lang="en-US" sz="2500" kern="1200"/>
        </a:p>
      </dsp:txBody>
      <dsp:txXfrm>
        <a:off x="3830767" y="71129"/>
        <a:ext cx="3357302" cy="973061"/>
      </dsp:txXfrm>
    </dsp:sp>
    <dsp:sp modelId="{DD7992A8-8ACA-4D2A-9436-5D53C8C5703C}">
      <dsp:nvSpPr>
        <dsp:cNvPr id="0" name=""/>
        <dsp:cNvSpPr/>
      </dsp:nvSpPr>
      <dsp:spPr>
        <a:xfrm>
          <a:off x="3830767"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Offer type</a:t>
          </a:r>
          <a:endParaRPr lang="en-US" sz="2500" kern="1200"/>
        </a:p>
        <a:p>
          <a:pPr marL="228600" lvl="1" indent="-228600" algn="l" defTabSz="1111250">
            <a:lnSpc>
              <a:spcPct val="90000"/>
            </a:lnSpc>
            <a:spcBef>
              <a:spcPct val="0"/>
            </a:spcBef>
            <a:spcAft>
              <a:spcPct val="15000"/>
            </a:spcAft>
            <a:buChar char="•"/>
          </a:pPr>
          <a:r>
            <a:rPr lang="en-US" sz="2500" kern="1200" baseline="0"/>
            <a:t>Private offers</a:t>
          </a:r>
          <a:endParaRPr lang="en-US" sz="2500" kern="1200"/>
        </a:p>
        <a:p>
          <a:pPr marL="228600" lvl="1" indent="-228600" algn="l" defTabSz="1111250">
            <a:lnSpc>
              <a:spcPct val="90000"/>
            </a:lnSpc>
            <a:spcBef>
              <a:spcPct val="0"/>
            </a:spcBef>
            <a:spcAft>
              <a:spcPct val="15000"/>
            </a:spcAft>
            <a:buChar char="•"/>
          </a:pPr>
          <a:r>
            <a:rPr lang="en-US" sz="2500" kern="1200" baseline="0"/>
            <a:t>Overview</a:t>
          </a:r>
          <a:endParaRPr lang="en-US" sz="2500" kern="1200"/>
        </a:p>
        <a:p>
          <a:pPr marL="228600" lvl="1" indent="-228600" algn="l" defTabSz="1111250">
            <a:lnSpc>
              <a:spcPct val="90000"/>
            </a:lnSpc>
            <a:spcBef>
              <a:spcPct val="0"/>
            </a:spcBef>
            <a:spcAft>
              <a:spcPct val="15000"/>
            </a:spcAft>
            <a:buChar char="•"/>
          </a:pPr>
          <a:r>
            <a:rPr lang="en-US" sz="2500" kern="1200" baseline="0"/>
            <a:t>Plans + Pricing</a:t>
          </a:r>
          <a:endParaRPr lang="en-US" sz="2500" kern="1200"/>
        </a:p>
        <a:p>
          <a:pPr marL="228600" lvl="1" indent="-228600" algn="l" defTabSz="1111250">
            <a:lnSpc>
              <a:spcPct val="90000"/>
            </a:lnSpc>
            <a:spcBef>
              <a:spcPct val="0"/>
            </a:spcBef>
            <a:spcAft>
              <a:spcPct val="15000"/>
            </a:spcAft>
            <a:buChar char="•"/>
          </a:pPr>
          <a:r>
            <a:rPr lang="en-US" sz="2500" kern="1200" baseline="0"/>
            <a:t>Usage information + Support</a:t>
          </a:r>
          <a:endParaRPr lang="en-US" sz="2500" kern="1200"/>
        </a:p>
        <a:p>
          <a:pPr marL="228600" lvl="1" indent="-228600" algn="l" defTabSz="1111250">
            <a:lnSpc>
              <a:spcPct val="90000"/>
            </a:lnSpc>
            <a:spcBef>
              <a:spcPct val="0"/>
            </a:spcBef>
            <a:spcAft>
              <a:spcPct val="15000"/>
            </a:spcAft>
            <a:buChar char="•"/>
          </a:pPr>
          <a:r>
            <a:rPr lang="en-US" sz="2500" kern="1200" baseline="0"/>
            <a:t>Ratings and Reviews</a:t>
          </a:r>
          <a:endParaRPr lang="en-US" sz="2500" kern="1200"/>
        </a:p>
      </dsp:txBody>
      <dsp:txXfrm>
        <a:off x="3830767" y="1044191"/>
        <a:ext cx="3357302" cy="3718617"/>
      </dsp:txXfrm>
    </dsp:sp>
    <dsp:sp modelId="{79FCC723-F7C2-4D5F-B48C-2828B608E9D8}">
      <dsp:nvSpPr>
        <dsp:cNvPr id="0" name=""/>
        <dsp:cNvSpPr/>
      </dsp:nvSpPr>
      <dsp:spPr>
        <a:xfrm>
          <a:off x="7658092"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Billing models</a:t>
          </a:r>
          <a:endParaRPr lang="en-US" sz="2500" kern="1200"/>
        </a:p>
      </dsp:txBody>
      <dsp:txXfrm>
        <a:off x="7658092" y="71129"/>
        <a:ext cx="3357302" cy="973061"/>
      </dsp:txXfrm>
    </dsp:sp>
    <dsp:sp modelId="{6B01AB2C-A753-46EB-B68C-DFED4C49EA33}">
      <dsp:nvSpPr>
        <dsp:cNvPr id="0" name=""/>
        <dsp:cNvSpPr/>
      </dsp:nvSpPr>
      <dsp:spPr>
        <a:xfrm>
          <a:off x="7658092"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Monthly</a:t>
          </a:r>
          <a:endParaRPr lang="en-US" sz="2500" kern="1200"/>
        </a:p>
        <a:p>
          <a:pPr marL="228600" lvl="1" indent="-228600" algn="l" defTabSz="1111250">
            <a:lnSpc>
              <a:spcPct val="90000"/>
            </a:lnSpc>
            <a:spcBef>
              <a:spcPct val="0"/>
            </a:spcBef>
            <a:spcAft>
              <a:spcPct val="15000"/>
            </a:spcAft>
            <a:buChar char="•"/>
          </a:pPr>
          <a:r>
            <a:rPr lang="en-US" sz="2500" kern="1200" baseline="0"/>
            <a:t>Annual (multi-year)</a:t>
          </a:r>
          <a:endParaRPr lang="en-US" sz="2500" kern="1200"/>
        </a:p>
      </dsp:txBody>
      <dsp:txXfrm>
        <a:off x="7658092" y="1044191"/>
        <a:ext cx="3357302" cy="371861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FADD3C-A1B5-4D68-853B-212CDA71A881}">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stall Azure PowerShell module</a:t>
          </a:r>
          <a:endParaRPr lang="en-US" sz="1500" kern="1200"/>
        </a:p>
        <a:p>
          <a:pPr marL="228600" lvl="2" indent="-114300" algn="l" defTabSz="666750">
            <a:lnSpc>
              <a:spcPct val="90000"/>
            </a:lnSpc>
            <a:spcBef>
              <a:spcPct val="0"/>
            </a:spcBef>
            <a:spcAft>
              <a:spcPct val="15000"/>
            </a:spcAft>
            <a:buChar char="•"/>
          </a:pPr>
          <a:r>
            <a:rPr lang="en-US" sz="1500" kern="1200" baseline="0"/>
            <a:t>https://learn.microsoft.com/en-us/powershell/azure/get-started-azureps</a:t>
          </a:r>
          <a:endParaRPr lang="en-US" sz="1500" kern="1200"/>
        </a:p>
        <a:p>
          <a:pPr marL="114300" lvl="1" indent="-114300" algn="l" defTabSz="666750">
            <a:lnSpc>
              <a:spcPct val="90000"/>
            </a:lnSpc>
            <a:spcBef>
              <a:spcPct val="0"/>
            </a:spcBef>
            <a:spcAft>
              <a:spcPct val="15000"/>
            </a:spcAft>
            <a:buChar char="•"/>
          </a:pPr>
          <a:r>
            <a:rPr lang="en-US" sz="1500" kern="1200" baseline="0"/>
            <a:t>Connect to Azure with Connect-AZAccount command</a:t>
          </a:r>
          <a:endParaRPr lang="en-US" sz="1500" kern="1200"/>
        </a:p>
      </dsp:txBody>
      <dsp:txXfrm rot="-5400000">
        <a:off x="3966782" y="218979"/>
        <a:ext cx="6991219" cy="1124575"/>
      </dsp:txXfrm>
    </dsp:sp>
    <dsp:sp modelId="{D3251CB0-99FB-4CE3-96C5-18A8B5F7B0C3}">
      <dsp:nvSpPr>
        <dsp:cNvPr id="0" name=""/>
        <dsp:cNvSpPr/>
      </dsp:nvSpPr>
      <dsp:spPr>
        <a:xfrm>
          <a:off x="0" y="2360"/>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Prerequisites</a:t>
          </a:r>
          <a:endParaRPr lang="en-US" sz="3400" kern="1200"/>
        </a:p>
      </dsp:txBody>
      <dsp:txXfrm>
        <a:off x="76046" y="78406"/>
        <a:ext cx="3814689" cy="1405720"/>
      </dsp:txXfrm>
    </dsp:sp>
    <dsp:sp modelId="{553427E3-ABC7-4853-B128-320BFEBCD9AE}">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formation needed for PowerShell</a:t>
          </a:r>
          <a:endParaRPr lang="en-US" sz="1500" kern="1200"/>
        </a:p>
        <a:p>
          <a:pPr marL="228600" lvl="2" indent="-114300" algn="l" defTabSz="666750">
            <a:lnSpc>
              <a:spcPct val="90000"/>
            </a:lnSpc>
            <a:spcBef>
              <a:spcPct val="0"/>
            </a:spcBef>
            <a:spcAft>
              <a:spcPct val="15000"/>
            </a:spcAft>
            <a:buChar char="•"/>
          </a:pPr>
          <a:r>
            <a:rPr lang="en-US" sz="1500" kern="1200" baseline="0"/>
            <a:t>Publisher ID</a:t>
          </a:r>
          <a:endParaRPr lang="en-US" sz="1500" kern="1200"/>
        </a:p>
        <a:p>
          <a:pPr marL="228600" lvl="2" indent="-114300" algn="l" defTabSz="666750">
            <a:lnSpc>
              <a:spcPct val="90000"/>
            </a:lnSpc>
            <a:spcBef>
              <a:spcPct val="0"/>
            </a:spcBef>
            <a:spcAft>
              <a:spcPct val="15000"/>
            </a:spcAft>
            <a:buChar char="•"/>
          </a:pPr>
          <a:r>
            <a:rPr lang="en-US" sz="1500" kern="1200" baseline="0"/>
            <a:t>Product ID</a:t>
          </a:r>
          <a:endParaRPr lang="en-US" sz="1500" kern="1200"/>
        </a:p>
        <a:p>
          <a:pPr marL="228600" lvl="2" indent="-114300" algn="l" defTabSz="666750">
            <a:lnSpc>
              <a:spcPct val="90000"/>
            </a:lnSpc>
            <a:spcBef>
              <a:spcPct val="0"/>
            </a:spcBef>
            <a:spcAft>
              <a:spcPct val="15000"/>
            </a:spcAft>
            <a:buChar char="•"/>
          </a:pPr>
          <a:r>
            <a:rPr lang="en-US" sz="1500" kern="1200" baseline="0"/>
            <a:t>Plan ID</a:t>
          </a:r>
          <a:endParaRPr lang="en-US" sz="1500" kern="1200"/>
        </a:p>
      </dsp:txBody>
      <dsp:txXfrm rot="-5400000">
        <a:off x="3966782" y="1854681"/>
        <a:ext cx="6991219" cy="1124575"/>
      </dsp:txXfrm>
    </dsp:sp>
    <dsp:sp modelId="{7735BBAA-B145-429A-A7C6-EF0BB3482726}">
      <dsp:nvSpPr>
        <dsp:cNvPr id="0" name=""/>
        <dsp:cNvSpPr/>
      </dsp:nvSpPr>
      <dsp:spPr>
        <a:xfrm>
          <a:off x="0" y="1638062"/>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Usage Information + Support</a:t>
          </a:r>
          <a:endParaRPr lang="en-US" sz="3400" kern="1200"/>
        </a:p>
      </dsp:txBody>
      <dsp:txXfrm>
        <a:off x="76046" y="1714108"/>
        <a:ext cx="3814689" cy="1405720"/>
      </dsp:txXfrm>
    </dsp:sp>
    <dsp:sp modelId="{2B888B18-5AE3-4B08-90F4-FBA6BC237890}">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Azure CLI</a:t>
          </a:r>
          <a:endParaRPr lang="en-US" sz="1500" kern="1200"/>
        </a:p>
        <a:p>
          <a:pPr marL="114300" lvl="1" indent="-114300" algn="l" defTabSz="666750">
            <a:lnSpc>
              <a:spcPct val="90000"/>
            </a:lnSpc>
            <a:spcBef>
              <a:spcPct val="0"/>
            </a:spcBef>
            <a:spcAft>
              <a:spcPct val="15000"/>
            </a:spcAft>
            <a:buChar char="•"/>
          </a:pPr>
          <a:r>
            <a:rPr lang="en-US" sz="1500" kern="1200" baseline="0"/>
            <a:t>Terraform</a:t>
          </a:r>
          <a:endParaRPr lang="en-US" sz="1500" kern="1200"/>
        </a:p>
      </dsp:txBody>
      <dsp:txXfrm rot="-5400000">
        <a:off x="3966782" y="3490384"/>
        <a:ext cx="6991219" cy="1124575"/>
      </dsp:txXfrm>
    </dsp:sp>
    <dsp:sp modelId="{5F964A1F-D92B-42DE-922B-D9697E21A213}">
      <dsp:nvSpPr>
        <dsp:cNvPr id="0" name=""/>
        <dsp:cNvSpPr/>
      </dsp:nvSpPr>
      <dsp:spPr>
        <a:xfrm>
          <a:off x="0" y="3273765"/>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Other deployment options</a:t>
          </a:r>
          <a:endParaRPr lang="en-US" sz="3400" kern="1200"/>
        </a:p>
      </dsp:txBody>
      <dsp:txXfrm>
        <a:off x="76046" y="3349811"/>
        <a:ext cx="3814689" cy="140572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E69083-1DC3-4E03-A7B4-985F56389913}">
      <dsp:nvSpPr>
        <dsp:cNvPr id="0" name=""/>
        <dsp:cNvSpPr/>
      </dsp:nvSpPr>
      <dsp:spPr>
        <a:xfrm>
          <a:off x="0" y="16668"/>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Managing purchases depends on the method of purchase</a:t>
          </a:r>
        </a:p>
      </dsp:txBody>
      <dsp:txXfrm>
        <a:off x="59171" y="75839"/>
        <a:ext cx="7152897" cy="1093778"/>
      </dsp:txXfrm>
    </dsp:sp>
    <dsp:sp modelId="{E638B426-B4C3-486D-B24F-F0D708A27113}">
      <dsp:nvSpPr>
        <dsp:cNvPr id="0" name=""/>
        <dsp:cNvSpPr/>
      </dsp:nvSpPr>
      <dsp:spPr>
        <a:xfrm>
          <a:off x="0" y="1228788"/>
          <a:ext cx="7271239" cy="1912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Purchase in Azure portal, manage in Azure portal</a:t>
          </a:r>
        </a:p>
        <a:p>
          <a:pPr marL="228600" lvl="1" indent="-228600" algn="l" defTabSz="977900">
            <a:lnSpc>
              <a:spcPct val="90000"/>
            </a:lnSpc>
            <a:spcBef>
              <a:spcPct val="0"/>
            </a:spcBef>
            <a:spcAft>
              <a:spcPct val="20000"/>
            </a:spcAft>
            <a:buChar char="•"/>
          </a:pPr>
          <a:r>
            <a:rPr lang="en-US" sz="2200" kern="1200"/>
            <a:t>Purchase in AppSource, manage in Microsoft 365 Admin Center</a:t>
          </a:r>
        </a:p>
        <a:p>
          <a:pPr marL="228600" lvl="1" indent="-228600" algn="l" defTabSz="977900">
            <a:lnSpc>
              <a:spcPct val="90000"/>
            </a:lnSpc>
            <a:spcBef>
              <a:spcPct val="0"/>
            </a:spcBef>
            <a:spcAft>
              <a:spcPct val="20000"/>
            </a:spcAft>
            <a:buChar char="•"/>
          </a:pPr>
          <a:r>
            <a:rPr lang="en-US" sz="2200" kern="1200"/>
            <a:t>Third-party applications may be in Microsoft portals on in their own admin portal</a:t>
          </a:r>
        </a:p>
      </dsp:txBody>
      <dsp:txXfrm>
        <a:off x="0" y="1228788"/>
        <a:ext cx="7271239" cy="1912680"/>
      </dsp:txXfrm>
    </dsp:sp>
    <dsp:sp modelId="{C785C48D-C559-486A-9C47-1603B8BACE70}">
      <dsp:nvSpPr>
        <dsp:cNvPr id="0" name=""/>
        <dsp:cNvSpPr/>
      </dsp:nvSpPr>
      <dsp:spPr>
        <a:xfrm>
          <a:off x="0" y="3141469"/>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Changing plans</a:t>
          </a:r>
        </a:p>
      </dsp:txBody>
      <dsp:txXfrm>
        <a:off x="59171" y="3200640"/>
        <a:ext cx="7152897" cy="1093778"/>
      </dsp:txXfrm>
    </dsp:sp>
    <dsp:sp modelId="{18423F23-6E3D-4752-AD23-F8A327AAF702}">
      <dsp:nvSpPr>
        <dsp:cNvPr id="0" name=""/>
        <dsp:cNvSpPr/>
      </dsp:nvSpPr>
      <dsp:spPr>
        <a:xfrm>
          <a:off x="0" y="4353589"/>
          <a:ext cx="7271239" cy="463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Requires Owner or Contributor role permissions</a:t>
          </a:r>
        </a:p>
      </dsp:txBody>
      <dsp:txXfrm>
        <a:off x="0" y="4353589"/>
        <a:ext cx="7271239" cy="4636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72A67E-F027-4D72-87B6-23EB78A0DEFE}">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F445DC15-31BF-4C55-83B9-B0136CC587EE}">
      <dsp:nvSpPr>
        <dsp:cNvPr id="0" name=""/>
        <dsp:cNvSpPr/>
      </dsp:nvSpPr>
      <dsp:spPr>
        <a:xfrm>
          <a:off x="8447"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Go to the Azure Marketplace</a:t>
          </a:r>
        </a:p>
      </dsp:txBody>
      <dsp:txXfrm>
        <a:off x="8447" y="143445"/>
        <a:ext cx="3179752" cy="1907851"/>
      </dsp:txXfrm>
    </dsp:sp>
    <dsp:sp modelId="{2EFF4D28-6C6A-4B85-83C6-9CD2C53A2423}">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EB354E04-058A-4AA4-85A8-7C138C55625A}">
      <dsp:nvSpPr>
        <dsp:cNvPr id="0" name=""/>
        <dsp:cNvSpPr/>
      </dsp:nvSpPr>
      <dsp:spPr>
        <a:xfrm>
          <a:off x="3919542"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Use the Browse apps to select IT &amp; Management tools</a:t>
          </a:r>
        </a:p>
      </dsp:txBody>
      <dsp:txXfrm>
        <a:off x="3919542" y="143445"/>
        <a:ext cx="3179752" cy="1907851"/>
      </dsp:txXfrm>
    </dsp:sp>
    <dsp:sp modelId="{9C55E4F5-1522-458D-A6B7-A164F1E08114}">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183043C8-3433-4F21-9078-6ED8653DBAD2}">
      <dsp:nvSpPr>
        <dsp:cNvPr id="0" name=""/>
        <dsp:cNvSpPr/>
      </dsp:nvSpPr>
      <dsp:spPr>
        <a:xfrm>
          <a:off x="7830638"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Operating System to Windows</a:t>
          </a:r>
        </a:p>
      </dsp:txBody>
      <dsp:txXfrm>
        <a:off x="7830638" y="143445"/>
        <a:ext cx="3179752" cy="1907851"/>
      </dsp:txXfrm>
    </dsp:sp>
    <dsp:sp modelId="{58EA2DB5-C91A-4AC2-836A-D2FBE795CA2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DE462207-B980-4D00-8F94-90F97EA9412C}">
      <dsp:nvSpPr>
        <dsp:cNvPr id="0" name=""/>
        <dsp:cNvSpPr/>
      </dsp:nvSpPr>
      <dsp:spPr>
        <a:xfrm>
          <a:off x="8447"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Pricing Model to Free</a:t>
          </a:r>
        </a:p>
      </dsp:txBody>
      <dsp:txXfrm>
        <a:off x="8447" y="2782640"/>
        <a:ext cx="3179752" cy="1907851"/>
      </dsp:txXfrm>
    </dsp:sp>
    <dsp:sp modelId="{0786F294-3133-4B99-AD7C-C385CF6EA7A7}">
      <dsp:nvSpPr>
        <dsp:cNvPr id="0" name=""/>
        <dsp:cNvSpPr/>
      </dsp:nvSpPr>
      <dsp:spPr>
        <a:xfrm>
          <a:off x="7097495"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3732909"/>
        <a:ext cx="36567" cy="7313"/>
      </dsp:txXfrm>
    </dsp:sp>
    <dsp:sp modelId="{5FDAE6CF-FDEA-41E3-B115-135907836B45}">
      <dsp:nvSpPr>
        <dsp:cNvPr id="0" name=""/>
        <dsp:cNvSpPr/>
      </dsp:nvSpPr>
      <dsp:spPr>
        <a:xfrm>
          <a:off x="3919542"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nd an app</a:t>
          </a:r>
        </a:p>
      </dsp:txBody>
      <dsp:txXfrm>
        <a:off x="3919542" y="2782640"/>
        <a:ext cx="3179752" cy="1907851"/>
      </dsp:txXfrm>
    </dsp:sp>
    <dsp:sp modelId="{A8EA05AD-E3DC-4F8F-BDF0-1B3252899B3C}">
      <dsp:nvSpPr>
        <dsp:cNvPr id="0" name=""/>
        <dsp:cNvSpPr/>
      </dsp:nvSpPr>
      <dsp:spPr>
        <a:xfrm>
          <a:off x="7830638"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Mark it as a favorite</a:t>
          </a:r>
        </a:p>
      </dsp:txBody>
      <dsp:txXfrm>
        <a:off x="7830638" y="2782640"/>
        <a:ext cx="3179752" cy="190785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63662-A64F-4742-80BD-13B2EE6EE59A}">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0390AEC8-994B-4FEA-B749-B4F6AEA6448F}">
      <dsp:nvSpPr>
        <dsp:cNvPr id="0" name=""/>
        <dsp:cNvSpPr/>
      </dsp:nvSpPr>
      <dsp:spPr>
        <a:xfrm>
          <a:off x="8447"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Go to the Azure Marketplace</a:t>
          </a:r>
        </a:p>
      </dsp:txBody>
      <dsp:txXfrm>
        <a:off x="8447" y="143445"/>
        <a:ext cx="3179752" cy="1907851"/>
      </dsp:txXfrm>
    </dsp:sp>
    <dsp:sp modelId="{24ECAFEB-5CEC-4490-8822-77B62561BCA5}">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806819AA-FDB8-4EA3-B78D-CF20A4554C35}">
      <dsp:nvSpPr>
        <dsp:cNvPr id="0" name=""/>
        <dsp:cNvSpPr/>
      </dsp:nvSpPr>
      <dsp:spPr>
        <a:xfrm>
          <a:off x="3919542"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Use the Browse apps to select Security</a:t>
          </a:r>
        </a:p>
      </dsp:txBody>
      <dsp:txXfrm>
        <a:off x="3919542" y="143445"/>
        <a:ext cx="3179752" cy="1907851"/>
      </dsp:txXfrm>
    </dsp:sp>
    <dsp:sp modelId="{D76321F7-E2E7-4843-812A-6D47076374BF}">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CDFD5395-0CD3-43F5-A883-A3B288C2CF18}">
      <dsp:nvSpPr>
        <dsp:cNvPr id="0" name=""/>
        <dsp:cNvSpPr/>
      </dsp:nvSpPr>
      <dsp:spPr>
        <a:xfrm>
          <a:off x="7830638"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lter the Pricing Model to Pay as You Go</a:t>
          </a:r>
        </a:p>
      </dsp:txBody>
      <dsp:txXfrm>
        <a:off x="7830638" y="143445"/>
        <a:ext cx="3179752" cy="1907851"/>
      </dsp:txXfrm>
    </dsp:sp>
    <dsp:sp modelId="{38EF6879-DAD1-4755-95CA-EF2AAD9E716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74A0A6FC-EE98-497B-8DFA-D675F5B6EC71}">
      <dsp:nvSpPr>
        <dsp:cNvPr id="0" name=""/>
        <dsp:cNvSpPr/>
      </dsp:nvSpPr>
      <dsp:spPr>
        <a:xfrm>
          <a:off x="8447"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nd an app</a:t>
          </a:r>
        </a:p>
      </dsp:txBody>
      <dsp:txXfrm>
        <a:off x="8447" y="2782640"/>
        <a:ext cx="3179752" cy="1907851"/>
      </dsp:txXfrm>
    </dsp:sp>
    <dsp:sp modelId="{B106E791-7769-43ED-8163-E2828C07A89A}">
      <dsp:nvSpPr>
        <dsp:cNvPr id="0" name=""/>
        <dsp:cNvSpPr/>
      </dsp:nvSpPr>
      <dsp:spPr>
        <a:xfrm>
          <a:off x="3919542"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Mark it as a favorite</a:t>
          </a:r>
        </a:p>
      </dsp:txBody>
      <dsp:txXfrm>
        <a:off x="3919542" y="2782640"/>
        <a:ext cx="3179752" cy="19078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037EE7-7DAD-401E-A647-BA2223688587}">
      <dsp:nvSpPr>
        <dsp:cNvPr id="0" name=""/>
        <dsp:cNvSpPr/>
      </dsp:nvSpPr>
      <dsp:spPr>
        <a:xfrm>
          <a:off x="3186399"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1</a:t>
          </a:r>
        </a:p>
      </dsp:txBody>
      <dsp:txXfrm>
        <a:off x="3430497" y="898194"/>
        <a:ext cx="212546" cy="398353"/>
      </dsp:txXfrm>
    </dsp:sp>
    <dsp:sp modelId="{0DD83287-1354-4032-AC79-D31A005BECD9}">
      <dsp:nvSpPr>
        <dsp:cNvPr id="0" name=""/>
        <dsp:cNvSpPr/>
      </dsp:nvSpPr>
      <dsp:spPr>
        <a:xfrm>
          <a:off x="8447"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Go to the Azure Marketplace</a:t>
          </a:r>
        </a:p>
      </dsp:txBody>
      <dsp:txXfrm>
        <a:off x="8447" y="143445"/>
        <a:ext cx="3179752" cy="1907851"/>
      </dsp:txXfrm>
    </dsp:sp>
    <dsp:sp modelId="{760C35F8-5D9D-4415-B97B-6DB55E3450E7}">
      <dsp:nvSpPr>
        <dsp:cNvPr id="0" name=""/>
        <dsp:cNvSpPr/>
      </dsp:nvSpPr>
      <dsp:spPr>
        <a:xfrm>
          <a:off x="7097495"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2</a:t>
          </a:r>
        </a:p>
      </dsp:txBody>
      <dsp:txXfrm>
        <a:off x="7341593" y="898194"/>
        <a:ext cx="212546" cy="398353"/>
      </dsp:txXfrm>
    </dsp:sp>
    <dsp:sp modelId="{D506B59F-90AC-4849-B0F0-D22110039739}">
      <dsp:nvSpPr>
        <dsp:cNvPr id="0" name=""/>
        <dsp:cNvSpPr/>
      </dsp:nvSpPr>
      <dsp:spPr>
        <a:xfrm>
          <a:off x="3919542"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Use the Browse apps to select Security</a:t>
          </a:r>
        </a:p>
      </dsp:txBody>
      <dsp:txXfrm>
        <a:off x="3919542" y="143445"/>
        <a:ext cx="3179752" cy="1907851"/>
      </dsp:txXfrm>
    </dsp:sp>
    <dsp:sp modelId="{85CF5366-BFF1-4E36-AE72-16DC499C11E5}">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3</a:t>
          </a:r>
        </a:p>
      </dsp:txBody>
      <dsp:txXfrm>
        <a:off x="5313011" y="2200692"/>
        <a:ext cx="392815" cy="398353"/>
      </dsp:txXfrm>
    </dsp:sp>
    <dsp:sp modelId="{1A1D4672-1836-4676-B75F-50F0B9B32C78}">
      <dsp:nvSpPr>
        <dsp:cNvPr id="0" name=""/>
        <dsp:cNvSpPr/>
      </dsp:nvSpPr>
      <dsp:spPr>
        <a:xfrm>
          <a:off x="7830638"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Service Types to Assessment</a:t>
          </a:r>
        </a:p>
      </dsp:txBody>
      <dsp:txXfrm>
        <a:off x="7830638" y="143445"/>
        <a:ext cx="3179752" cy="1907851"/>
      </dsp:txXfrm>
    </dsp:sp>
    <dsp:sp modelId="{88581CB4-3B0A-4B05-83E3-A1BE183169CF}">
      <dsp:nvSpPr>
        <dsp:cNvPr id="0" name=""/>
        <dsp:cNvSpPr/>
      </dsp:nvSpPr>
      <dsp:spPr>
        <a:xfrm>
          <a:off x="3186399"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4</a:t>
          </a:r>
        </a:p>
      </dsp:txBody>
      <dsp:txXfrm>
        <a:off x="3430497" y="3537389"/>
        <a:ext cx="212546" cy="398353"/>
      </dsp:txXfrm>
    </dsp:sp>
    <dsp:sp modelId="{0AC1AE17-963B-40DB-9338-9942976DD3F0}">
      <dsp:nvSpPr>
        <dsp:cNvPr id="0" name=""/>
        <dsp:cNvSpPr/>
      </dsp:nvSpPr>
      <dsp:spPr>
        <a:xfrm>
          <a:off x="8447"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Pricing Model to Free</a:t>
          </a:r>
        </a:p>
      </dsp:txBody>
      <dsp:txXfrm>
        <a:off x="8447" y="2782640"/>
        <a:ext cx="3179752" cy="1907851"/>
      </dsp:txXfrm>
    </dsp:sp>
    <dsp:sp modelId="{3A54A1EE-0C57-41B4-9ADC-C018D8D71E58}">
      <dsp:nvSpPr>
        <dsp:cNvPr id="0" name=""/>
        <dsp:cNvSpPr/>
      </dsp:nvSpPr>
      <dsp:spPr>
        <a:xfrm>
          <a:off x="7097495"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5</a:t>
          </a:r>
        </a:p>
      </dsp:txBody>
      <dsp:txXfrm>
        <a:off x="7341593" y="3537389"/>
        <a:ext cx="212546" cy="398353"/>
      </dsp:txXfrm>
    </dsp:sp>
    <dsp:sp modelId="{134C389A-8072-43E0-BD43-C6E317D29A1A}">
      <dsp:nvSpPr>
        <dsp:cNvPr id="0" name=""/>
        <dsp:cNvSpPr/>
      </dsp:nvSpPr>
      <dsp:spPr>
        <a:xfrm>
          <a:off x="3919542"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nd a consulting service</a:t>
          </a:r>
        </a:p>
      </dsp:txBody>
      <dsp:txXfrm>
        <a:off x="3919542" y="2782640"/>
        <a:ext cx="3179752" cy="1907851"/>
      </dsp:txXfrm>
    </dsp:sp>
    <dsp:sp modelId="{E600DE75-2E7F-43D8-9A3A-233094BE11A1}">
      <dsp:nvSpPr>
        <dsp:cNvPr id="0" name=""/>
        <dsp:cNvSpPr/>
      </dsp:nvSpPr>
      <dsp:spPr>
        <a:xfrm>
          <a:off x="7830638"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Mark it as a favorite</a:t>
          </a:r>
        </a:p>
      </dsp:txBody>
      <dsp:txXfrm>
        <a:off x="7830638" y="2782640"/>
        <a:ext cx="3179752" cy="190785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33C143-D754-412F-A3EF-553280136D69}">
      <dsp:nvSpPr>
        <dsp:cNvPr id="0" name=""/>
        <dsp:cNvSpPr/>
      </dsp:nvSpPr>
      <dsp:spPr>
        <a:xfrm>
          <a:off x="0" y="4271075"/>
          <a:ext cx="2754709" cy="560576"/>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Mark</a:t>
          </a:r>
        </a:p>
      </dsp:txBody>
      <dsp:txXfrm>
        <a:off x="0" y="4271075"/>
        <a:ext cx="2754709" cy="560576"/>
      </dsp:txXfrm>
    </dsp:sp>
    <dsp:sp modelId="{444386FF-6FA2-467D-8D99-032624C0A1DF}">
      <dsp:nvSpPr>
        <dsp:cNvPr id="0" name=""/>
        <dsp:cNvSpPr/>
      </dsp:nvSpPr>
      <dsp:spPr>
        <a:xfrm>
          <a:off x="2754709" y="4271075"/>
          <a:ext cx="8264128" cy="560576"/>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Mark it as a favorite</a:t>
          </a:r>
        </a:p>
      </dsp:txBody>
      <dsp:txXfrm>
        <a:off x="2754709" y="4271075"/>
        <a:ext cx="8264128" cy="560576"/>
      </dsp:txXfrm>
    </dsp:sp>
    <dsp:sp modelId="{F7F700F7-FFC6-47E6-B2A6-F1E2BA14F45E}">
      <dsp:nvSpPr>
        <dsp:cNvPr id="0" name=""/>
        <dsp:cNvSpPr/>
      </dsp:nvSpPr>
      <dsp:spPr>
        <a:xfrm rot="10800000">
          <a:off x="0" y="3417317"/>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nd</a:t>
          </a:r>
        </a:p>
      </dsp:txBody>
      <dsp:txXfrm rot="-10800000">
        <a:off x="0" y="3417317"/>
        <a:ext cx="2754709" cy="560408"/>
      </dsp:txXfrm>
    </dsp:sp>
    <dsp:sp modelId="{8BDD0526-5732-4575-875D-AA10FC8BF1EE}">
      <dsp:nvSpPr>
        <dsp:cNvPr id="0" name=""/>
        <dsp:cNvSpPr/>
      </dsp:nvSpPr>
      <dsp:spPr>
        <a:xfrm>
          <a:off x="2754709" y="3417317"/>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nd a consulting service</a:t>
          </a:r>
        </a:p>
      </dsp:txBody>
      <dsp:txXfrm>
        <a:off x="2754709" y="3417317"/>
        <a:ext cx="8264128" cy="560408"/>
      </dsp:txXfrm>
    </dsp:sp>
    <dsp:sp modelId="{30A9B216-CBA0-453D-84BF-88C2301BF88B}">
      <dsp:nvSpPr>
        <dsp:cNvPr id="0" name=""/>
        <dsp:cNvSpPr/>
      </dsp:nvSpPr>
      <dsp:spPr>
        <a:xfrm rot="10800000">
          <a:off x="0" y="2563559"/>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2563559"/>
        <a:ext cx="2754709" cy="560408"/>
      </dsp:txXfrm>
    </dsp:sp>
    <dsp:sp modelId="{453622B5-00E2-413A-8EA2-2896FA97222B}">
      <dsp:nvSpPr>
        <dsp:cNvPr id="0" name=""/>
        <dsp:cNvSpPr/>
      </dsp:nvSpPr>
      <dsp:spPr>
        <a:xfrm>
          <a:off x="2754709" y="2563559"/>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Pricing Model to Paid</a:t>
          </a:r>
        </a:p>
      </dsp:txBody>
      <dsp:txXfrm>
        <a:off x="2754709" y="2563559"/>
        <a:ext cx="8264128" cy="560408"/>
      </dsp:txXfrm>
    </dsp:sp>
    <dsp:sp modelId="{FD6D2EDF-02A3-425F-93C7-659532CF7DC7}">
      <dsp:nvSpPr>
        <dsp:cNvPr id="0" name=""/>
        <dsp:cNvSpPr/>
      </dsp:nvSpPr>
      <dsp:spPr>
        <a:xfrm rot="10800000">
          <a:off x="0" y="1709801"/>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1709801"/>
        <a:ext cx="2754709" cy="560408"/>
      </dsp:txXfrm>
    </dsp:sp>
    <dsp:sp modelId="{FBF9D00E-DCF8-49CB-B755-BCB8A54BC3C8}">
      <dsp:nvSpPr>
        <dsp:cNvPr id="0" name=""/>
        <dsp:cNvSpPr/>
      </dsp:nvSpPr>
      <dsp:spPr>
        <a:xfrm>
          <a:off x="2754709" y="1709801"/>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Service Types to Workshop</a:t>
          </a:r>
        </a:p>
      </dsp:txBody>
      <dsp:txXfrm>
        <a:off x="2754709" y="1709801"/>
        <a:ext cx="8264128" cy="560408"/>
      </dsp:txXfrm>
    </dsp:sp>
    <dsp:sp modelId="{2A8833E1-3381-41E2-BAFD-62EA1AB8A370}">
      <dsp:nvSpPr>
        <dsp:cNvPr id="0" name=""/>
        <dsp:cNvSpPr/>
      </dsp:nvSpPr>
      <dsp:spPr>
        <a:xfrm rot="10800000">
          <a:off x="0" y="856044"/>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Use</a:t>
          </a:r>
        </a:p>
      </dsp:txBody>
      <dsp:txXfrm rot="-10800000">
        <a:off x="0" y="856044"/>
        <a:ext cx="2754709" cy="560408"/>
      </dsp:txXfrm>
    </dsp:sp>
    <dsp:sp modelId="{A91FFD47-A07C-49C0-BB13-678F7F07CCF1}">
      <dsp:nvSpPr>
        <dsp:cNvPr id="0" name=""/>
        <dsp:cNvSpPr/>
      </dsp:nvSpPr>
      <dsp:spPr>
        <a:xfrm>
          <a:off x="2754709" y="856044"/>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Use the Browse apps to select Security</a:t>
          </a:r>
        </a:p>
      </dsp:txBody>
      <dsp:txXfrm>
        <a:off x="2754709" y="856044"/>
        <a:ext cx="8264128" cy="560408"/>
      </dsp:txXfrm>
    </dsp:sp>
    <dsp:sp modelId="{FE35DFC9-465D-4107-813F-71D98950F785}">
      <dsp:nvSpPr>
        <dsp:cNvPr id="0" name=""/>
        <dsp:cNvSpPr/>
      </dsp:nvSpPr>
      <dsp:spPr>
        <a:xfrm rot="10800000">
          <a:off x="0" y="2286"/>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Go</a:t>
          </a:r>
        </a:p>
      </dsp:txBody>
      <dsp:txXfrm rot="-10800000">
        <a:off x="0" y="2286"/>
        <a:ext cx="2754709" cy="560408"/>
      </dsp:txXfrm>
    </dsp:sp>
    <dsp:sp modelId="{1046637E-4512-4E46-B39F-F96226FD2C17}">
      <dsp:nvSpPr>
        <dsp:cNvPr id="0" name=""/>
        <dsp:cNvSpPr/>
      </dsp:nvSpPr>
      <dsp:spPr>
        <a:xfrm>
          <a:off x="2754709" y="2286"/>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Go to the Azure Marketplace</a:t>
          </a:r>
        </a:p>
      </dsp:txBody>
      <dsp:txXfrm>
        <a:off x="2754709" y="2286"/>
        <a:ext cx="8264128" cy="56040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3850E2-929E-488A-9605-C1657D549A18}">
      <dsp:nvSpPr>
        <dsp:cNvPr id="0" name=""/>
        <dsp:cNvSpPr/>
      </dsp:nvSpPr>
      <dsp:spPr>
        <a:xfrm>
          <a:off x="4142"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Listing (Contact Me)</a:t>
          </a:r>
          <a:endParaRPr lang="en-US" sz="1800" kern="1200" dirty="0"/>
        </a:p>
      </dsp:txBody>
      <dsp:txXfrm>
        <a:off x="4142" y="1086253"/>
        <a:ext cx="2491075" cy="981491"/>
      </dsp:txXfrm>
    </dsp:sp>
    <dsp:sp modelId="{AB8FACBB-E97E-41EB-8C6A-C350395CD957}">
      <dsp:nvSpPr>
        <dsp:cNvPr id="0" name=""/>
        <dsp:cNvSpPr/>
      </dsp:nvSpPr>
      <dsp:spPr>
        <a:xfrm>
          <a:off x="4142"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dirty="0">
              <a:latin typeface="Segoe UI Semibold"/>
            </a:rPr>
            <a:t>Link to provider CRM</a:t>
          </a:r>
        </a:p>
        <a:p>
          <a:pPr marL="171450" lvl="1" indent="-171450" algn="l" defTabSz="800100" rtl="0">
            <a:lnSpc>
              <a:spcPct val="90000"/>
            </a:lnSpc>
            <a:spcBef>
              <a:spcPct val="0"/>
            </a:spcBef>
            <a:spcAft>
              <a:spcPct val="15000"/>
            </a:spcAft>
            <a:buChar char="•"/>
          </a:pPr>
          <a:r>
            <a:rPr lang="en-US" sz="1800" kern="1200" baseline="0" dirty="0">
              <a:latin typeface="Segoe UI Semibold"/>
            </a:rPr>
            <a:t>Reach out to interested customers</a:t>
          </a:r>
        </a:p>
      </dsp:txBody>
      <dsp:txXfrm>
        <a:off x="4142" y="2067744"/>
        <a:ext cx="2491075" cy="1679939"/>
      </dsp:txXfrm>
    </dsp:sp>
    <dsp:sp modelId="{9A32E3FC-5173-4CF0-938C-BAE1C2FA68BD}">
      <dsp:nvSpPr>
        <dsp:cNvPr id="0" name=""/>
        <dsp:cNvSpPr/>
      </dsp:nvSpPr>
      <dsp:spPr>
        <a:xfrm>
          <a:off x="2843968"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Free Trial</a:t>
          </a:r>
          <a:endParaRPr lang="en-US" sz="1800" kern="1200" dirty="0"/>
        </a:p>
      </dsp:txBody>
      <dsp:txXfrm>
        <a:off x="2843968" y="1086253"/>
        <a:ext cx="2491075" cy="981491"/>
      </dsp:txXfrm>
    </dsp:sp>
    <dsp:sp modelId="{3A6D7D2E-32EC-431A-9BEC-9ACDB58173E0}">
      <dsp:nvSpPr>
        <dsp:cNvPr id="0" name=""/>
        <dsp:cNvSpPr/>
      </dsp:nvSpPr>
      <dsp:spPr>
        <a:xfrm>
          <a:off x="2843968"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dirty="0">
              <a:latin typeface="Segoe UI Semibold"/>
            </a:rPr>
            <a:t>Try before you buy</a:t>
          </a:r>
        </a:p>
        <a:p>
          <a:pPr marL="171450" lvl="1" indent="-171450" algn="l" defTabSz="800100" rtl="0">
            <a:lnSpc>
              <a:spcPct val="90000"/>
            </a:lnSpc>
            <a:spcBef>
              <a:spcPct val="0"/>
            </a:spcBef>
            <a:spcAft>
              <a:spcPct val="15000"/>
            </a:spcAft>
            <a:buChar char="•"/>
          </a:pPr>
          <a:r>
            <a:rPr lang="en-US" sz="1800" kern="1200" baseline="0" dirty="0">
              <a:latin typeface="Segoe UI Semibold"/>
            </a:rPr>
            <a:t>Test drive software</a:t>
          </a:r>
        </a:p>
      </dsp:txBody>
      <dsp:txXfrm>
        <a:off x="2843968" y="2067744"/>
        <a:ext cx="2491075" cy="1679939"/>
      </dsp:txXfrm>
    </dsp:sp>
    <dsp:sp modelId="{9731D488-8C25-4065-9D60-5FDE7ACC2F20}">
      <dsp:nvSpPr>
        <dsp:cNvPr id="0" name=""/>
        <dsp:cNvSpPr/>
      </dsp:nvSpPr>
      <dsp:spPr>
        <a:xfrm>
          <a:off x="5683794"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Bring Your Own License (BYOL) - Get it Now</a:t>
          </a:r>
          <a:endParaRPr lang="en-US" sz="1800" kern="1200" dirty="0"/>
        </a:p>
      </dsp:txBody>
      <dsp:txXfrm>
        <a:off x="5683794" y="1086253"/>
        <a:ext cx="2491075" cy="981491"/>
      </dsp:txXfrm>
    </dsp:sp>
    <dsp:sp modelId="{297D5F6F-8DDB-4106-AB89-49221CB02FB9}">
      <dsp:nvSpPr>
        <dsp:cNvPr id="0" name=""/>
        <dsp:cNvSpPr/>
      </dsp:nvSpPr>
      <dsp:spPr>
        <a:xfrm>
          <a:off x="5683794"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b="1" kern="1200" baseline="0" dirty="0">
              <a:latin typeface="Segoe UI Semibold"/>
            </a:rPr>
            <a:t>Use current license</a:t>
          </a:r>
        </a:p>
        <a:p>
          <a:pPr marL="171450" lvl="1" indent="-171450" algn="l" defTabSz="800100" rtl="0">
            <a:lnSpc>
              <a:spcPct val="90000"/>
            </a:lnSpc>
            <a:spcBef>
              <a:spcPct val="0"/>
            </a:spcBef>
            <a:spcAft>
              <a:spcPct val="15000"/>
            </a:spcAft>
            <a:buChar char="•"/>
          </a:pPr>
          <a:r>
            <a:rPr lang="en-US" sz="1800" b="1" kern="1200" baseline="0" dirty="0">
              <a:latin typeface="Segoe UI Semibold"/>
            </a:rPr>
            <a:t>Protects your existing investment in software</a:t>
          </a:r>
        </a:p>
      </dsp:txBody>
      <dsp:txXfrm>
        <a:off x="5683794" y="2067744"/>
        <a:ext cx="2491075" cy="1679939"/>
      </dsp:txXfrm>
    </dsp:sp>
    <dsp:sp modelId="{F5243D60-1C94-45AA-94F1-D458C71FB891}">
      <dsp:nvSpPr>
        <dsp:cNvPr id="0" name=""/>
        <dsp:cNvSpPr/>
      </dsp:nvSpPr>
      <dsp:spPr>
        <a:xfrm>
          <a:off x="8523619"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Transaction – Get it Now</a:t>
          </a:r>
          <a:endParaRPr lang="en-US" sz="1800" kern="1200" dirty="0"/>
        </a:p>
      </dsp:txBody>
      <dsp:txXfrm>
        <a:off x="8523619" y="1086253"/>
        <a:ext cx="2491075" cy="981491"/>
      </dsp:txXfrm>
    </dsp:sp>
    <dsp:sp modelId="{F86356BB-9F14-4608-ADBF-E7A84CB1978C}">
      <dsp:nvSpPr>
        <dsp:cNvPr id="0" name=""/>
        <dsp:cNvSpPr/>
      </dsp:nvSpPr>
      <dsp:spPr>
        <a:xfrm>
          <a:off x="8523619"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Bill to Microsoft account</a:t>
          </a:r>
          <a:endParaRPr lang="en-US" sz="1800" kern="1200" dirty="0"/>
        </a:p>
        <a:p>
          <a:pPr marL="171450" lvl="1" indent="-171450" algn="l" defTabSz="800100">
            <a:lnSpc>
              <a:spcPct val="90000"/>
            </a:lnSpc>
            <a:spcBef>
              <a:spcPct val="0"/>
            </a:spcBef>
            <a:spcAft>
              <a:spcPct val="15000"/>
            </a:spcAft>
            <a:buChar char="•"/>
          </a:pPr>
          <a:r>
            <a:rPr lang="en-US" sz="1800" kern="1200" baseline="0" dirty="0"/>
            <a:t>Process with credit card</a:t>
          </a:r>
          <a:endParaRPr lang="en-US" sz="1800" kern="1200" dirty="0"/>
        </a:p>
      </dsp:txBody>
      <dsp:txXfrm>
        <a:off x="8523619" y="2067744"/>
        <a:ext cx="2491075" cy="167993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53E2DF-10CD-4B56-B1B1-0E8C9D02D5DD}">
      <dsp:nvSpPr>
        <dsp:cNvPr id="0" name=""/>
        <dsp:cNvSpPr/>
      </dsp:nvSpPr>
      <dsp:spPr>
        <a:xfrm>
          <a:off x="0"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520F1F58-5C78-4603-B44B-6A0E5D94270A}">
      <dsp:nvSpPr>
        <dsp:cNvPr id="0" name=""/>
        <dsp:cNvSpPr/>
      </dsp:nvSpPr>
      <dsp:spPr>
        <a:xfrm>
          <a:off x="344338"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Free trials</a:t>
          </a:r>
          <a:endParaRPr lang="en-US" sz="3400" kern="1200"/>
        </a:p>
      </dsp:txBody>
      <dsp:txXfrm>
        <a:off x="401976" y="1654220"/>
        <a:ext cx="2983772" cy="1852619"/>
      </dsp:txXfrm>
    </dsp:sp>
    <dsp:sp modelId="{25AEA7F3-275E-473E-94C5-443663F42157}">
      <dsp:nvSpPr>
        <dsp:cNvPr id="0" name=""/>
        <dsp:cNvSpPr/>
      </dsp:nvSpPr>
      <dsp:spPr>
        <a:xfrm>
          <a:off x="3787725"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12E62845-3680-402A-9E2A-956F9FE097D0}">
      <dsp:nvSpPr>
        <dsp:cNvPr id="0" name=""/>
        <dsp:cNvSpPr/>
      </dsp:nvSpPr>
      <dsp:spPr>
        <a:xfrm>
          <a:off x="4132064"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Plan and pricing options</a:t>
          </a:r>
          <a:endParaRPr lang="en-US" sz="3400" kern="1200"/>
        </a:p>
      </dsp:txBody>
      <dsp:txXfrm>
        <a:off x="4189702" y="1654220"/>
        <a:ext cx="2983772" cy="1852619"/>
      </dsp:txXfrm>
    </dsp:sp>
    <dsp:sp modelId="{8AB241AB-1ECD-4E28-9CC4-37A1F6ADECF0}">
      <dsp:nvSpPr>
        <dsp:cNvPr id="0" name=""/>
        <dsp:cNvSpPr/>
      </dsp:nvSpPr>
      <dsp:spPr>
        <a:xfrm>
          <a:off x="7575451"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960C2012-83CF-4D40-B80C-83648AE03CF9}">
      <dsp:nvSpPr>
        <dsp:cNvPr id="0" name=""/>
        <dsp:cNvSpPr/>
      </dsp:nvSpPr>
      <dsp:spPr>
        <a:xfrm>
          <a:off x="7919789"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Selling through Microsoft</a:t>
          </a:r>
          <a:endParaRPr lang="en-US" sz="3400" kern="1200"/>
        </a:p>
      </dsp:txBody>
      <dsp:txXfrm>
        <a:off x="7977427" y="1654220"/>
        <a:ext cx="2983772" cy="185261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F45B1B-64AE-4F65-AA0D-DA3B7BE4303F}">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t>Have an Azure subscription</a:t>
          </a:r>
          <a:endParaRPr lang="en-US" sz="2200" kern="1200"/>
        </a:p>
        <a:p>
          <a:pPr marL="228600" lvl="1" indent="-228600" algn="l" defTabSz="977900">
            <a:lnSpc>
              <a:spcPct val="90000"/>
            </a:lnSpc>
            <a:spcBef>
              <a:spcPct val="0"/>
            </a:spcBef>
            <a:spcAft>
              <a:spcPct val="15000"/>
            </a:spcAft>
            <a:buChar char="•"/>
          </a:pPr>
          <a:r>
            <a:rPr lang="en-US" sz="2200" kern="1200" baseline="0"/>
            <a:t>Have permission to purchase from Azure Marketplace</a:t>
          </a:r>
          <a:endParaRPr lang="en-US" sz="2200" kern="1200"/>
        </a:p>
      </dsp:txBody>
      <dsp:txXfrm rot="-5400000">
        <a:off x="3966782" y="218979"/>
        <a:ext cx="6991219" cy="1124575"/>
      </dsp:txXfrm>
    </dsp:sp>
    <dsp:sp modelId="{63766B92-2A1A-4C0A-9D6C-7032EDF3A39C}">
      <dsp:nvSpPr>
        <dsp:cNvPr id="0" name=""/>
        <dsp:cNvSpPr/>
      </dsp:nvSpPr>
      <dsp:spPr>
        <a:xfrm>
          <a:off x="0" y="2360"/>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Requirements</a:t>
          </a:r>
          <a:endParaRPr lang="en-US" sz="4100" kern="1200"/>
        </a:p>
      </dsp:txBody>
      <dsp:txXfrm>
        <a:off x="76046" y="78406"/>
        <a:ext cx="3814689" cy="1405720"/>
      </dsp:txXfrm>
    </dsp:sp>
    <dsp:sp modelId="{0B85CB58-2C90-4CAF-A880-90BFD8247626}">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t>Solution template (ARM template)</a:t>
          </a:r>
          <a:endParaRPr lang="en-US" sz="2200" kern="1200"/>
        </a:p>
        <a:p>
          <a:pPr marL="228600" lvl="1" indent="-228600" algn="l" defTabSz="977900">
            <a:lnSpc>
              <a:spcPct val="90000"/>
            </a:lnSpc>
            <a:spcBef>
              <a:spcPct val="0"/>
            </a:spcBef>
            <a:spcAft>
              <a:spcPct val="15000"/>
            </a:spcAft>
            <a:buChar char="•"/>
          </a:pPr>
          <a:r>
            <a:rPr lang="en-US" sz="2200" kern="1200" baseline="0"/>
            <a:t>Managed application</a:t>
          </a:r>
          <a:endParaRPr lang="en-US" sz="2200" kern="1200"/>
        </a:p>
      </dsp:txBody>
      <dsp:txXfrm rot="-5400000">
        <a:off x="3966782" y="1854681"/>
        <a:ext cx="6991219" cy="1124575"/>
      </dsp:txXfrm>
    </dsp:sp>
    <dsp:sp modelId="{AAD31C3D-7ADE-4C83-B6FB-6BC8823CD1B1}">
      <dsp:nvSpPr>
        <dsp:cNvPr id="0" name=""/>
        <dsp:cNvSpPr/>
      </dsp:nvSpPr>
      <dsp:spPr>
        <a:xfrm>
          <a:off x="0" y="1638062"/>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Types of plans</a:t>
          </a:r>
          <a:endParaRPr lang="en-US" sz="4100" kern="1200"/>
        </a:p>
      </dsp:txBody>
      <dsp:txXfrm>
        <a:off x="76046" y="1714108"/>
        <a:ext cx="3814689" cy="1405720"/>
      </dsp:txXfrm>
    </dsp:sp>
    <dsp:sp modelId="{6E1ED42A-E1BD-4DF7-9A17-C2EB1B25E5A9}">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hlinkClick xmlns:r="http://schemas.openxmlformats.org/officeDocument/2006/relationships" r:id="rId1"/>
            </a:rPr>
            <a:t>https://portal.azure.com</a:t>
          </a:r>
          <a:r>
            <a:rPr lang="en-US" sz="2200" kern="1200" baseline="0"/>
            <a:t> </a:t>
          </a:r>
          <a:endParaRPr lang="en-US" sz="2200" kern="1200"/>
        </a:p>
      </dsp:txBody>
      <dsp:txXfrm rot="-5400000">
        <a:off x="3966782" y="3490384"/>
        <a:ext cx="6991219" cy="1124575"/>
      </dsp:txXfrm>
    </dsp:sp>
    <dsp:sp modelId="{2553AE57-7F9B-4AEC-B14F-8816CD63B2A4}">
      <dsp:nvSpPr>
        <dsp:cNvPr id="0" name=""/>
        <dsp:cNvSpPr/>
      </dsp:nvSpPr>
      <dsp:spPr>
        <a:xfrm>
          <a:off x="0" y="3273765"/>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Steps to purchase</a:t>
          </a:r>
          <a:endParaRPr lang="en-US" sz="4100" kern="1200"/>
        </a:p>
      </dsp:txBody>
      <dsp:txXfrm>
        <a:off x="76046" y="3349811"/>
        <a:ext cx="3814689" cy="14057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CC4ACC-2BFC-49E4-9A40-C9A80A9F2728}">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Have an Azure subscription</a:t>
          </a:r>
        </a:p>
        <a:p>
          <a:pPr marL="114300" lvl="1" indent="-114300" algn="l" defTabSz="533400">
            <a:lnSpc>
              <a:spcPct val="90000"/>
            </a:lnSpc>
            <a:spcBef>
              <a:spcPct val="0"/>
            </a:spcBef>
            <a:spcAft>
              <a:spcPct val="15000"/>
            </a:spcAft>
            <a:buChar char="•"/>
          </a:pPr>
          <a:r>
            <a:rPr lang="en-US" sz="1200" kern="1200"/>
            <a:t>Have permission to purchase from Azure Marketplace</a:t>
          </a:r>
        </a:p>
      </dsp:txBody>
      <dsp:txXfrm rot="-5400000">
        <a:off x="3966782" y="218979"/>
        <a:ext cx="6991219" cy="1124575"/>
      </dsp:txXfrm>
    </dsp:sp>
    <dsp:sp modelId="{C29DC169-38AE-4F26-AC96-DDE36686F37D}">
      <dsp:nvSpPr>
        <dsp:cNvPr id="0" name=""/>
        <dsp:cNvSpPr/>
      </dsp:nvSpPr>
      <dsp:spPr>
        <a:xfrm>
          <a:off x="0" y="2360"/>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Requirements</a:t>
          </a:r>
        </a:p>
      </dsp:txBody>
      <dsp:txXfrm>
        <a:off x="76046" y="78406"/>
        <a:ext cx="3814689" cy="1405720"/>
      </dsp:txXfrm>
    </dsp:sp>
    <dsp:sp modelId="{B047D45A-07A4-47C2-A3E4-56F64694BBF7}">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Size of VM – vCores, RAM, drive space</a:t>
          </a:r>
        </a:p>
        <a:p>
          <a:pPr marL="114300" lvl="1" indent="-114300" algn="l" defTabSz="533400">
            <a:lnSpc>
              <a:spcPct val="90000"/>
            </a:lnSpc>
            <a:spcBef>
              <a:spcPct val="0"/>
            </a:spcBef>
            <a:spcAft>
              <a:spcPct val="15000"/>
            </a:spcAft>
            <a:buChar char="•"/>
          </a:pPr>
          <a:r>
            <a:rPr lang="en-US" sz="1200" kern="1200"/>
            <a:t>Operating systems</a:t>
          </a:r>
        </a:p>
        <a:p>
          <a:pPr marL="228600" lvl="2" indent="-114300" algn="l" defTabSz="533400">
            <a:lnSpc>
              <a:spcPct val="90000"/>
            </a:lnSpc>
            <a:spcBef>
              <a:spcPct val="0"/>
            </a:spcBef>
            <a:spcAft>
              <a:spcPct val="15000"/>
            </a:spcAft>
            <a:buChar char="•"/>
          </a:pPr>
          <a:r>
            <a:rPr lang="en-US" sz="1200" kern="1200"/>
            <a:t>Windows Server</a:t>
          </a:r>
        </a:p>
        <a:p>
          <a:pPr marL="228600" lvl="2" indent="-114300" algn="l" defTabSz="533400">
            <a:lnSpc>
              <a:spcPct val="90000"/>
            </a:lnSpc>
            <a:spcBef>
              <a:spcPct val="0"/>
            </a:spcBef>
            <a:spcAft>
              <a:spcPct val="15000"/>
            </a:spcAft>
            <a:buChar char="•"/>
          </a:pPr>
          <a:r>
            <a:rPr lang="en-US" sz="1200" kern="1200"/>
            <a:t>Windows Client</a:t>
          </a:r>
        </a:p>
        <a:p>
          <a:pPr marL="228600" lvl="2" indent="-114300" algn="l" defTabSz="533400">
            <a:lnSpc>
              <a:spcPct val="90000"/>
            </a:lnSpc>
            <a:spcBef>
              <a:spcPct val="0"/>
            </a:spcBef>
            <a:spcAft>
              <a:spcPct val="15000"/>
            </a:spcAft>
            <a:buChar char="•"/>
          </a:pPr>
          <a:r>
            <a:rPr lang="en-US" sz="1200" kern="1200"/>
            <a:t>Linux distributions</a:t>
          </a:r>
        </a:p>
      </dsp:txBody>
      <dsp:txXfrm rot="-5400000">
        <a:off x="3966782" y="1854681"/>
        <a:ext cx="6991219" cy="1124575"/>
      </dsp:txXfrm>
    </dsp:sp>
    <dsp:sp modelId="{74247D1F-5644-4C65-964E-6973B989476C}">
      <dsp:nvSpPr>
        <dsp:cNvPr id="0" name=""/>
        <dsp:cNvSpPr/>
      </dsp:nvSpPr>
      <dsp:spPr>
        <a:xfrm>
          <a:off x="0" y="1638062"/>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Images have different costs</a:t>
          </a:r>
        </a:p>
      </dsp:txBody>
      <dsp:txXfrm>
        <a:off x="76046" y="1714108"/>
        <a:ext cx="3814689" cy="1405720"/>
      </dsp:txXfrm>
    </dsp:sp>
    <dsp:sp modelId="{4FA615A1-1FE4-46D7-AF66-5EAB68127F7C}">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hlinkClick xmlns:r="http://schemas.openxmlformats.org/officeDocument/2006/relationships" r:id="rId1"/>
            </a:rPr>
            <a:t>https://portal.azure.com</a:t>
          </a:r>
          <a:r>
            <a:rPr lang="en-US" sz="1200" kern="1200"/>
            <a:t> </a:t>
          </a:r>
        </a:p>
      </dsp:txBody>
      <dsp:txXfrm rot="-5400000">
        <a:off x="3966782" y="3490384"/>
        <a:ext cx="6991219" cy="1124575"/>
      </dsp:txXfrm>
    </dsp:sp>
    <dsp:sp modelId="{01B08FE3-A3C7-4EB1-A956-022014E84DD1}">
      <dsp:nvSpPr>
        <dsp:cNvPr id="0" name=""/>
        <dsp:cNvSpPr/>
      </dsp:nvSpPr>
      <dsp:spPr>
        <a:xfrm>
          <a:off x="0" y="3273765"/>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Steps to purchase</a:t>
          </a:r>
        </a:p>
      </dsp:txBody>
      <dsp:txXfrm>
        <a:off x="76046" y="3349811"/>
        <a:ext cx="3814689" cy="140572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54273-E04F-4A6B-AB46-301CAB090479}" type="datetimeFigureOut">
              <a:rPr lang="en-US" smtClean="0"/>
              <a:t>9/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7A4B63-AD09-44DE-BEEC-F379281B23CC}" type="slidenum">
              <a:rPr lang="en-US" smtClean="0"/>
              <a:t>‹#›</a:t>
            </a:fld>
            <a:endParaRPr lang="en-US"/>
          </a:p>
        </p:txBody>
      </p:sp>
    </p:spTree>
    <p:extLst>
      <p:ext uri="{BB962C8B-B14F-4D97-AF65-F5344CB8AC3E}">
        <p14:creationId xmlns:p14="http://schemas.microsoft.com/office/powerpoint/2010/main" val="4146384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earn.microsoft.com/en-us/marketplace/azure-purchasing-invoicing"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learn.microsoft.com/en-us/marketplace/azure-consumption-commitment-benefit"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learn.microsoft.com/en-us/marketplace/private-plans" TargetMode="External"/><Relationship Id="rId5" Type="http://schemas.openxmlformats.org/officeDocument/2006/relationships/hyperlink" Target="https://learn.microsoft.com/en-us/azure/virtual-machines/shared-image-galleries" TargetMode="External"/><Relationship Id="rId4" Type="http://schemas.openxmlformats.org/officeDocument/2006/relationships/hyperlink" Target="https://learn.microsoft.com/en-us/marketplace/azure-consumption-commitment-benefit"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change-plans"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learn.microsoft.com/en-us/marketplace/programmatic-deploy-of-marketplace-products"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learn.microsoft.com/en-us/marketplace/azure-consumption-commitment-benefit"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38.xml"/><Relationship Id="rId1" Type="http://schemas.openxmlformats.org/officeDocument/2006/relationships/notesMaster" Target="../notesMasters/notesMaster1.xml"/><Relationship Id="rId6" Type="http://schemas.openxmlformats.org/officeDocument/2006/relationships/hyperlink" Target="https://learn.microsoft.com/en-us/marketplace/private-plans" TargetMode="External"/><Relationship Id="rId5" Type="http://schemas.openxmlformats.org/officeDocument/2006/relationships/hyperlink" Target="https://learn.microsoft.com/en-us/azure/virtual-machines/shared-image-galleries" TargetMode="External"/><Relationship Id="rId4" Type="http://schemas.openxmlformats.org/officeDocument/2006/relationships/hyperlink" Target="https://learn.microsoft.com/en-us/marketplace/azure-consumption-commitment-benefit"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change-plans"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7000"/>
              </a:lnSpc>
              <a:spcAft>
                <a:spcPts val="800"/>
              </a:spcAft>
            </a:pPr>
            <a:r>
              <a:rPr lang="en-US" dirty="0">
                <a:latin typeface="Segoe UI"/>
                <a:ea typeface="Calibri" panose="020F0502020204030204" pitchFamily="34" charset="0"/>
                <a:cs typeface="Segoe UI"/>
              </a:rPr>
              <a:t>Review the learning objects with the participants. </a:t>
            </a:r>
          </a:p>
          <a:p>
            <a:pPr defTabSz="924916">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1770B9-05F8-46F3-AC49-223CF0B116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078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19</a:t>
            </a:fld>
            <a:endParaRPr lang="en-US"/>
          </a:p>
        </p:txBody>
      </p:sp>
    </p:spTree>
    <p:extLst>
      <p:ext uri="{BB962C8B-B14F-4D97-AF65-F5344CB8AC3E}">
        <p14:creationId xmlns:p14="http://schemas.microsoft.com/office/powerpoint/2010/main" val="1630548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0</a:t>
            </a:fld>
            <a:endParaRPr lang="en-US"/>
          </a:p>
        </p:txBody>
      </p:sp>
    </p:spTree>
    <p:extLst>
      <p:ext uri="{BB962C8B-B14F-4D97-AF65-F5344CB8AC3E}">
        <p14:creationId xmlns:p14="http://schemas.microsoft.com/office/powerpoint/2010/main" val="31715151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urchasing software and solutions from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3</a:t>
            </a:fld>
            <a:endParaRPr lang="en-US"/>
          </a:p>
        </p:txBody>
      </p:sp>
    </p:spTree>
    <p:extLst>
      <p:ext uri="{BB962C8B-B14F-4D97-AF65-F5344CB8AC3E}">
        <p14:creationId xmlns:p14="http://schemas.microsoft.com/office/powerpoint/2010/main" val="35793100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4</a:t>
            </a:fld>
            <a:endParaRPr lang="en-US"/>
          </a:p>
        </p:txBody>
      </p:sp>
    </p:spTree>
    <p:extLst>
      <p:ext uri="{BB962C8B-B14F-4D97-AF65-F5344CB8AC3E}">
        <p14:creationId xmlns:p14="http://schemas.microsoft.com/office/powerpoint/2010/main" val="2641557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Sign in to Azure portal at </a:t>
            </a:r>
            <a:r>
              <a:rPr lang="en-US" dirty="0">
                <a:hlinkClick r:id="rId3"/>
              </a:rPr>
              <a:t>https://portal.azure.com</a:t>
            </a:r>
            <a:r>
              <a:rPr lang="en-US"/>
              <a:t>.</a:t>
            </a:r>
          </a:p>
          <a:p>
            <a:pPr marL="285750" indent="-285750">
              <a:buFont typeface="Arial"/>
              <a:buChar char="•"/>
            </a:pPr>
            <a:r>
              <a:rPr lang="en-US"/>
              <a:t>Under </a:t>
            </a:r>
            <a:r>
              <a:rPr lang="en-US" b="1"/>
              <a:t>Azure services</a:t>
            </a:r>
            <a:r>
              <a:rPr lang="en-US"/>
              <a:t>, select </a:t>
            </a:r>
            <a:r>
              <a:rPr lang="en-US" b="1"/>
              <a:t>+ Create a resource</a:t>
            </a:r>
            <a:r>
              <a:rPr lang="en-US"/>
              <a:t>.</a:t>
            </a:r>
          </a:p>
          <a:p>
            <a:pPr marL="285750" indent="-285750">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marL="285750" indent="-285750">
              <a:buFont typeface="Arial"/>
              <a:buChar char="•"/>
            </a:pPr>
            <a:r>
              <a:rPr lang="en-US" dirty="0"/>
              <a:t>To filter the results on Azure Application offers, select the </a:t>
            </a:r>
            <a:r>
              <a:rPr lang="en-US" b="1" dirty="0"/>
              <a:t>Product Type</a:t>
            </a:r>
            <a:r>
              <a:rPr lang="en-US" dirty="0"/>
              <a:t> filter near the top of the page, and then select </a:t>
            </a:r>
            <a:r>
              <a:rPr lang="en-US" b="1" dirty="0"/>
              <a:t>Azure Applications</a:t>
            </a:r>
            <a:r>
              <a:rPr lang="en-US" dirty="0"/>
              <a:t>.</a:t>
            </a:r>
            <a:endParaRPr lang="en-US" dirty="0">
              <a:cs typeface="Calibri"/>
            </a:endParaRPr>
          </a:p>
          <a:p>
            <a:pPr marL="285750" indent="-285750">
              <a:buFont typeface="Arial"/>
              <a:buChar char="•"/>
            </a:pPr>
            <a:r>
              <a:rPr lang="en-US" dirty="0"/>
              <a:t>You can optionally filter the results using the following filters.</a:t>
            </a:r>
            <a:endParaRPr lang="en-US" dirty="0">
              <a:cs typeface="Calibri"/>
            </a:endParaRPr>
          </a:p>
          <a:p>
            <a:r>
              <a:rPr lang="en-US" b="1" dirty="0"/>
              <a:t>Filter group</a:t>
            </a:r>
            <a:endParaRPr lang="en-US" dirty="0"/>
          </a:p>
          <a:p>
            <a:r>
              <a:rPr lang="en-US" b="1" dirty="0"/>
              <a:t>Description</a:t>
            </a:r>
            <a:endParaRPr lang="en-US" dirty="0"/>
          </a:p>
          <a:p>
            <a:r>
              <a:rPr lang="en-US" dirty="0"/>
              <a:t>Pricing</a:t>
            </a:r>
            <a:endParaRPr lang="en-US" dirty="0">
              <a:cs typeface="Calibri"/>
            </a:endParaRPr>
          </a:p>
          <a:p>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core, per core size, or per market (customer sold-to address) and core size</a:t>
            </a:r>
            <a:endParaRPr lang="en-US" dirty="0">
              <a:cs typeface="Calibri"/>
            </a:endParaRPr>
          </a:p>
          <a:p>
            <a:r>
              <a:rPr lang="en-US" dirty="0"/>
              <a:t>Publisher Type</a:t>
            </a:r>
            <a:endParaRPr lang="en-US" dirty="0">
              <a:cs typeface="Calibri"/>
            </a:endParaRPr>
          </a:p>
          <a:p>
            <a:r>
              <a:rPr lang="en-US" dirty="0"/>
              <a:t>Select Microsoft, Partners, or both</a:t>
            </a:r>
            <a:endParaRPr lang="en-US" dirty="0">
              <a:cs typeface="Calibri"/>
            </a:endParaRPr>
          </a:p>
          <a:p>
            <a:r>
              <a:rPr lang="en-US" dirty="0"/>
              <a:t>Publisher name</a:t>
            </a:r>
            <a:endParaRPr lang="en-US" dirty="0">
              <a:cs typeface="Calibri"/>
            </a:endParaRPr>
          </a:p>
          <a:p>
            <a:r>
              <a:rPr lang="en-US" dirty="0"/>
              <a:t>Filter the products based on the publisher's name</a:t>
            </a:r>
            <a:endParaRPr lang="en-US" dirty="0">
              <a:cs typeface="Calibri"/>
            </a:endParaRPr>
          </a:p>
          <a:p>
            <a:pPr marL="285750" indent="-285750">
              <a:buFont typeface="Arial"/>
              <a:buChar char="•"/>
            </a:pPr>
            <a:r>
              <a:rPr lang="en-US" dirty="0"/>
              <a:t>You can optionally select a category on the left-side of the page to further filter the results.</a:t>
            </a:r>
            <a:endParaRPr lang="en-US" dirty="0">
              <a:cs typeface="Calibri"/>
            </a:endParaRPr>
          </a:p>
          <a:p>
            <a:pPr marL="285750" indent="-285750">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marL="285750" indent="-285750">
              <a:buFont typeface="Arial"/>
              <a:buChar char="•"/>
            </a:pPr>
            <a:r>
              <a:rPr lang="en-US" dirty="0"/>
              <a:t>Select the Azure Application offer you want.</a:t>
            </a:r>
            <a:endParaRPr lang="en-US" dirty="0">
              <a:cs typeface="Calibri"/>
            </a:endParaRPr>
          </a:p>
          <a:p>
            <a:pPr marL="285750" indent="-285750">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marL="285750" indent="-285750">
              <a:buFont typeface="Arial"/>
              <a:buChar char="•"/>
            </a:pPr>
            <a:r>
              <a:rPr lang="en-US" dirty="0"/>
              <a:t>Select </a:t>
            </a:r>
            <a:r>
              <a:rPr lang="en-US" b="1" dirty="0"/>
              <a:t>Create</a:t>
            </a:r>
            <a:r>
              <a:rPr lang="en-US" dirty="0"/>
              <a:t>. The </a:t>
            </a:r>
            <a:r>
              <a:rPr lang="en-US" b="1" dirty="0"/>
              <a:t>Create </a:t>
            </a:r>
            <a:r>
              <a:rPr lang="en-US" b="1" i="1" dirty="0"/>
              <a:t>Offer Name</a:t>
            </a:r>
            <a:r>
              <a:rPr lang="en-US" dirty="0"/>
              <a:t> page appears.</a:t>
            </a:r>
            <a:endParaRPr lang="en-US" dirty="0">
              <a:cs typeface="Calibri"/>
            </a:endParaRPr>
          </a:p>
          <a:p>
            <a:pPr marL="285750" indent="-285750">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marL="285750" lvl="1" indent="-285750">
              <a:buFont typeface="Arial"/>
              <a:buChar char="•"/>
            </a:pPr>
            <a:r>
              <a:rPr lang="en-US" dirty="0"/>
              <a:t>From the </a:t>
            </a:r>
            <a:r>
              <a:rPr lang="en-US" b="1" dirty="0"/>
              <a:t>Resource group</a:t>
            </a:r>
            <a:r>
              <a:rPr lang="en-US" dirty="0"/>
              <a:t> list, select an existing resource group.</a:t>
            </a:r>
            <a:endParaRPr lang="en-US" dirty="0">
              <a:cs typeface="Calibri"/>
            </a:endParaRPr>
          </a:p>
          <a:p>
            <a:pPr marL="285750" lvl="1" indent="-285750">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marL="285750" indent="-285750">
              <a:buFont typeface="Arial"/>
              <a:buChar char="•"/>
            </a:pPr>
            <a:r>
              <a:rPr lang="en-US" dirty="0"/>
              <a:t>Complete any remaining fields on the page, and then select </a:t>
            </a:r>
            <a:r>
              <a:rPr lang="en-US" b="1" dirty="0"/>
              <a:t>Review + create</a:t>
            </a:r>
            <a:r>
              <a:rPr lang="en-US" dirty="0"/>
              <a:t>. Other input fields in the Marketplace experience vary between publishers and offers. Each offer might collect different input based on </a:t>
            </a:r>
            <a:r>
              <a:rPr lang="en-US" dirty="0" err="1"/>
              <a:t>it's</a:t>
            </a:r>
            <a:r>
              <a:rPr lang="en-US" dirty="0"/>
              <a:t> need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5</a:t>
            </a:fld>
            <a:endParaRPr lang="en-US"/>
          </a:p>
        </p:txBody>
      </p:sp>
    </p:spTree>
    <p:extLst>
      <p:ext uri="{BB962C8B-B14F-4D97-AF65-F5344CB8AC3E}">
        <p14:creationId xmlns:p14="http://schemas.microsoft.com/office/powerpoint/2010/main" val="1601541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6</a:t>
            </a:fld>
            <a:endParaRPr lang="en-US"/>
          </a:p>
        </p:txBody>
      </p:sp>
    </p:spTree>
    <p:extLst>
      <p:ext uri="{BB962C8B-B14F-4D97-AF65-F5344CB8AC3E}">
        <p14:creationId xmlns:p14="http://schemas.microsoft.com/office/powerpoint/2010/main" val="15845397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a:t>Under </a:t>
            </a:r>
            <a:r>
              <a:rPr lang="en-US" b="1"/>
              <a:t>Azure services</a:t>
            </a:r>
            <a:r>
              <a:rPr lang="en-US"/>
              <a:t>, select </a:t>
            </a:r>
            <a:r>
              <a:rPr lang="en-US" b="1"/>
              <a:t>+ Create a resource</a:t>
            </a:r>
            <a:r>
              <a:rPr lang="en-US"/>
              <a:t>.</a:t>
            </a:r>
          </a:p>
          <a:p>
            <a:pPr>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a:buFont typeface="Arial"/>
              <a:buChar char="•"/>
            </a:pPr>
            <a:r>
              <a:rPr lang="en-US" dirty="0"/>
              <a:t>To filter the results on virtual machine offers, select the </a:t>
            </a:r>
            <a:r>
              <a:rPr lang="en-US" b="1" dirty="0"/>
              <a:t>Product Type</a:t>
            </a:r>
            <a:r>
              <a:rPr lang="en-US" dirty="0"/>
              <a:t> filter near the top of the page, and then select </a:t>
            </a:r>
            <a:r>
              <a:rPr lang="en-US" b="1" dirty="0"/>
              <a:t>Virtual Machine</a:t>
            </a:r>
            <a:r>
              <a:rPr lang="en-US" dirty="0"/>
              <a:t>.</a:t>
            </a:r>
            <a:endParaRPr lang="en-US" dirty="0">
              <a:cs typeface="Calibri"/>
            </a:endParaRPr>
          </a:p>
          <a:p>
            <a:pPr>
              <a:buFont typeface="Arial"/>
              <a:buChar char="•"/>
            </a:pPr>
            <a:r>
              <a:rPr lang="en-US" dirty="0"/>
              <a:t>You can optionally filter the results using the following filters.</a:t>
            </a:r>
          </a:p>
          <a:p>
            <a:pPr>
              <a:buFont typeface="Arial"/>
              <a:buChar char="•"/>
            </a:pPr>
            <a:r>
              <a:rPr lang="en-US" b="1" dirty="0"/>
              <a:t>Filter group</a:t>
            </a:r>
            <a:endParaRPr lang="en-US" dirty="0"/>
          </a:p>
          <a:p>
            <a:pPr>
              <a:buFont typeface="Arial"/>
              <a:buChar char="•"/>
            </a:pPr>
            <a:r>
              <a:rPr lang="en-US" b="1" dirty="0"/>
              <a:t>Description</a:t>
            </a:r>
            <a:endParaRPr lang="en-US" dirty="0"/>
          </a:p>
          <a:p>
            <a:pPr>
              <a:buFont typeface="Arial"/>
              <a:buChar char="•"/>
            </a:pPr>
            <a:r>
              <a:rPr lang="en-US" dirty="0"/>
              <a:t>Pricing</a:t>
            </a:r>
            <a:endParaRPr lang="en-US" dirty="0">
              <a:cs typeface="Calibri"/>
            </a:endParaRPr>
          </a:p>
          <a:p>
            <a:pPr>
              <a:buFont typeface="Arial"/>
              <a:buChar char="•"/>
            </a:pPr>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vCPU, per vCPU size, or per market (customer sold-to address) and vCPU size</a:t>
            </a:r>
            <a:endParaRPr lang="en-US" dirty="0">
              <a:cs typeface="Calibri"/>
            </a:endParaRPr>
          </a:p>
          <a:p>
            <a:pPr>
              <a:buFont typeface="Arial"/>
              <a:buChar char="•"/>
            </a:pPr>
            <a:r>
              <a:rPr lang="en-US" dirty="0"/>
              <a:t>Operating System</a:t>
            </a:r>
            <a:endParaRPr lang="en-US" dirty="0">
              <a:cs typeface="Calibri"/>
            </a:endParaRPr>
          </a:p>
          <a:p>
            <a:pPr>
              <a:buFont typeface="Arial"/>
              <a:buChar char="•"/>
            </a:pPr>
            <a:r>
              <a:rPr lang="en-US" dirty="0"/>
              <a:t>Filter by the OS the VM image is using</a:t>
            </a:r>
          </a:p>
          <a:p>
            <a:pPr>
              <a:buFont typeface="Arial"/>
              <a:buChar char="•"/>
            </a:pPr>
            <a:r>
              <a:rPr lang="en-US" dirty="0"/>
              <a:t>Publisher Type</a:t>
            </a:r>
            <a:endParaRPr lang="en-US" dirty="0">
              <a:cs typeface="Calibri"/>
            </a:endParaRPr>
          </a:p>
          <a:p>
            <a:pPr>
              <a:buFont typeface="Arial"/>
              <a:buChar char="•"/>
            </a:pPr>
            <a:r>
              <a:rPr lang="en-US" dirty="0"/>
              <a:t>Select Microsoft, Partners, or both</a:t>
            </a:r>
          </a:p>
          <a:p>
            <a:pPr>
              <a:buFont typeface="Arial"/>
              <a:buChar char="•"/>
            </a:pPr>
            <a:r>
              <a:rPr lang="en-US" dirty="0"/>
              <a:t>Publisher name</a:t>
            </a:r>
            <a:endParaRPr lang="en-US" dirty="0">
              <a:cs typeface="Calibri"/>
            </a:endParaRPr>
          </a:p>
          <a:p>
            <a:pPr>
              <a:buFont typeface="Arial"/>
              <a:buChar char="•"/>
            </a:pPr>
            <a:r>
              <a:rPr lang="en-US" dirty="0"/>
              <a:t>Filter the products based on the publisher's name</a:t>
            </a:r>
          </a:p>
          <a:p>
            <a:pPr>
              <a:buFont typeface="Arial"/>
              <a:buChar char="•"/>
            </a:pPr>
            <a:r>
              <a:rPr lang="en-US" dirty="0"/>
              <a:t>You can optionally select a category on the left-side of the page to further filter the results.</a:t>
            </a:r>
          </a:p>
          <a:p>
            <a:pPr>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a:buFont typeface="Arial"/>
              <a:buChar char="•"/>
            </a:pPr>
            <a:r>
              <a:rPr lang="en-US" dirty="0"/>
              <a:t>Select the VM offer you want.</a:t>
            </a:r>
          </a:p>
          <a:p>
            <a:pPr>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a:buFont typeface="Arial"/>
              <a:buChar char="•"/>
            </a:pPr>
            <a:r>
              <a:rPr lang="en-US" dirty="0"/>
              <a:t>Select </a:t>
            </a:r>
            <a:r>
              <a:rPr lang="en-US" b="1" dirty="0"/>
              <a:t>Create</a:t>
            </a:r>
            <a:r>
              <a:rPr lang="en-US" dirty="0"/>
              <a:t>. The </a:t>
            </a:r>
            <a:r>
              <a:rPr lang="en-US" b="1" dirty="0"/>
              <a:t>Create a virtual machine</a:t>
            </a:r>
            <a:r>
              <a:rPr lang="en-US" dirty="0"/>
              <a:t> page appears.</a:t>
            </a:r>
            <a:endParaRPr lang="en-US" dirty="0">
              <a:cs typeface="Calibri"/>
            </a:endParaRP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lvl="1">
              <a:buFont typeface="Arial"/>
              <a:buChar char="•"/>
            </a:pPr>
            <a:r>
              <a:rPr lang="en-US" dirty="0"/>
              <a:t>From the </a:t>
            </a:r>
            <a:r>
              <a:rPr lang="en-US" b="1" dirty="0"/>
              <a:t>Resource group</a:t>
            </a:r>
            <a:r>
              <a:rPr lang="en-US" dirty="0"/>
              <a:t> list, select an existing resource group.</a:t>
            </a:r>
            <a:endParaRPr lang="en-US" dirty="0">
              <a:cs typeface="Calibri"/>
            </a:endParaRP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a:buFont typeface="Arial"/>
              <a:buChar char="•"/>
            </a:pPr>
            <a:r>
              <a:rPr lang="en-US" dirty="0"/>
              <a:t>Under </a:t>
            </a:r>
            <a:r>
              <a:rPr lang="en-US" b="1" dirty="0"/>
              <a:t>Instance details</a:t>
            </a:r>
            <a:r>
              <a:rPr lang="en-US" dirty="0"/>
              <a:t>, do the following:</a:t>
            </a:r>
            <a:endParaRPr lang="en-US" dirty="0">
              <a:cs typeface="Calibri"/>
            </a:endParaRPr>
          </a:p>
          <a:p>
            <a:pPr lvl="1">
              <a:buFont typeface="Arial"/>
              <a:buChar char="•"/>
            </a:pPr>
            <a:r>
              <a:rPr lang="en-US" dirty="0"/>
              <a:t>In the </a:t>
            </a:r>
            <a:r>
              <a:rPr lang="en-US" b="1" dirty="0"/>
              <a:t>Virtual machine</a:t>
            </a:r>
            <a:r>
              <a:rPr lang="en-US" dirty="0"/>
              <a:t> name box, enter the name you want for this VM.</a:t>
            </a:r>
            <a:endParaRPr lang="en-US" dirty="0">
              <a:cs typeface="Calibri"/>
            </a:endParaRPr>
          </a:p>
          <a:p>
            <a:pPr lvl="1">
              <a:buFont typeface="Arial"/>
              <a:buChar char="•"/>
            </a:pPr>
            <a:r>
              <a:rPr lang="en-US" dirty="0"/>
              <a:t>From the </a:t>
            </a:r>
            <a:r>
              <a:rPr lang="en-US" b="1" dirty="0"/>
              <a:t>Region</a:t>
            </a:r>
            <a:r>
              <a:rPr lang="en-US" dirty="0"/>
              <a:t> list, choose the region you want.</a:t>
            </a:r>
            <a:endParaRPr lang="en-US" dirty="0">
              <a:cs typeface="Calibri"/>
            </a:endParaRPr>
          </a:p>
          <a:p>
            <a:pPr lvl="1">
              <a:buFont typeface="Arial"/>
              <a:buChar char="•"/>
            </a:pPr>
            <a:r>
              <a:rPr lang="en-US" dirty="0"/>
              <a:t>From the </a:t>
            </a:r>
            <a:r>
              <a:rPr lang="en-US" b="1" dirty="0"/>
              <a:t>Size</a:t>
            </a:r>
            <a:r>
              <a:rPr lang="en-US" dirty="0"/>
              <a:t> list, select the VM size you want.</a:t>
            </a:r>
            <a:endParaRPr lang="en-US" dirty="0">
              <a:cs typeface="Calibri"/>
            </a:endParaRPr>
          </a:p>
          <a:p>
            <a:pPr>
              <a:buFont typeface="Arial"/>
              <a:buChar char="•"/>
            </a:pPr>
            <a:r>
              <a:rPr lang="en-US" dirty="0"/>
              <a:t>Complete the remaining fields on the page. Then select </a:t>
            </a:r>
            <a:r>
              <a:rPr lang="en-US" b="1" dirty="0"/>
              <a:t>Review + create</a:t>
            </a:r>
            <a:r>
              <a:rPr lang="en-US" dirty="0"/>
              <a:t>.</a:t>
            </a:r>
            <a:endParaRPr lang="en-US" dirty="0">
              <a:cs typeface="Calibri"/>
            </a:endParaRPr>
          </a:p>
          <a:p>
            <a:pPr>
              <a:buFont typeface="Arial"/>
              <a:buChar char="•"/>
            </a:pPr>
            <a:r>
              <a:rPr lang="en-US" b="1" dirty="0"/>
              <a:t>Purchase a VM using search</a:t>
            </a:r>
            <a:endParaRPr lang="en-US" dirty="0"/>
          </a:p>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dirty="0"/>
              <a:t>In the search box, enter </a:t>
            </a:r>
            <a:r>
              <a:rPr lang="en-US" b="1" dirty="0"/>
              <a:t>virtual machines</a:t>
            </a:r>
            <a:r>
              <a:rPr lang="en-US" dirty="0"/>
              <a:t>.</a:t>
            </a:r>
            <a:endParaRPr lang="en-US" dirty="0">
              <a:cs typeface="Calibri"/>
            </a:endParaRPr>
          </a:p>
          <a:p>
            <a:pPr>
              <a:buFont typeface="Arial"/>
              <a:buChar char="•"/>
            </a:pPr>
            <a:r>
              <a:rPr lang="en-US" dirty="0"/>
              <a:t>Under </a:t>
            </a:r>
            <a:r>
              <a:rPr lang="en-US" b="1" dirty="0"/>
              <a:t>Services</a:t>
            </a:r>
            <a:r>
              <a:rPr lang="en-US" dirty="0"/>
              <a:t>, select </a:t>
            </a:r>
            <a:r>
              <a:rPr lang="en-US" b="1" dirty="0"/>
              <a:t>Virtual machines</a:t>
            </a:r>
            <a:r>
              <a:rPr lang="en-US" dirty="0"/>
              <a:t>.</a:t>
            </a:r>
            <a:endParaRPr lang="en-US" dirty="0">
              <a:cs typeface="Calibri"/>
            </a:endParaRPr>
          </a:p>
          <a:p>
            <a:pPr>
              <a:buFont typeface="Arial"/>
              <a:buChar char="•"/>
            </a:pPr>
            <a:r>
              <a:rPr lang="en-US" dirty="0"/>
              <a:t>On the </a:t>
            </a:r>
            <a:r>
              <a:rPr lang="en-US" b="1" dirty="0"/>
              <a:t>Virtual machines</a:t>
            </a:r>
            <a:r>
              <a:rPr lang="en-US" dirty="0"/>
              <a:t> page, select </a:t>
            </a:r>
            <a:r>
              <a:rPr lang="en-US" b="1" dirty="0"/>
              <a:t>+ Create</a:t>
            </a:r>
            <a:r>
              <a:rPr lang="en-US" dirty="0"/>
              <a:t> &gt; </a:t>
            </a:r>
            <a:r>
              <a:rPr lang="en-US" b="1" dirty="0"/>
              <a:t>+ Virtual machine</a:t>
            </a:r>
            <a:r>
              <a:rPr lang="en-US" dirty="0"/>
              <a:t>. The </a:t>
            </a:r>
            <a:r>
              <a:rPr lang="en-US" b="1" dirty="0"/>
              <a:t>Create a virtual machine</a:t>
            </a:r>
            <a:r>
              <a:rPr lang="en-US" dirty="0"/>
              <a:t> page appears.</a:t>
            </a: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p>
          <a:p>
            <a:pPr lvl="1">
              <a:buFont typeface="Arial"/>
              <a:buChar char="•"/>
            </a:pPr>
            <a:r>
              <a:rPr lang="en-US" dirty="0"/>
              <a:t>From the </a:t>
            </a:r>
            <a:r>
              <a:rPr lang="en-US" b="1" dirty="0"/>
              <a:t>Resource group</a:t>
            </a:r>
            <a:r>
              <a:rPr lang="en-US" dirty="0"/>
              <a:t> list, select an existing resource group.</a:t>
            </a: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p>
          <a:p>
            <a:pPr>
              <a:buFont typeface="Arial"/>
              <a:buChar char="•"/>
            </a:pPr>
            <a:r>
              <a:rPr lang="en-US" dirty="0"/>
              <a:t>Under </a:t>
            </a:r>
            <a:r>
              <a:rPr lang="en-US" b="1" dirty="0"/>
              <a:t>Instance details</a:t>
            </a:r>
            <a:r>
              <a:rPr lang="en-US" dirty="0"/>
              <a:t>, do the following:</a:t>
            </a:r>
          </a:p>
          <a:p>
            <a:pPr lvl="1">
              <a:buFont typeface="Arial"/>
              <a:buChar char="•"/>
            </a:pPr>
            <a:r>
              <a:rPr lang="en-US" dirty="0"/>
              <a:t>In the </a:t>
            </a:r>
            <a:r>
              <a:rPr lang="en-US" b="1" dirty="0"/>
              <a:t>Virtual machine</a:t>
            </a:r>
            <a:r>
              <a:rPr lang="en-US" dirty="0"/>
              <a:t> name box, enter the name you want for this VM.</a:t>
            </a:r>
          </a:p>
          <a:p>
            <a:pPr lvl="1">
              <a:buFont typeface="Arial"/>
              <a:buChar char="•"/>
            </a:pPr>
            <a:r>
              <a:rPr lang="en-US" dirty="0"/>
              <a:t>From the </a:t>
            </a:r>
            <a:r>
              <a:rPr lang="en-US" b="1" dirty="0"/>
              <a:t>Region</a:t>
            </a:r>
            <a:r>
              <a:rPr lang="en-US" dirty="0"/>
              <a:t> list, choose the region you want.</a:t>
            </a:r>
          </a:p>
          <a:p>
            <a:pPr>
              <a:buFont typeface="Arial"/>
              <a:buChar char="•"/>
            </a:pPr>
            <a:r>
              <a:rPr lang="en-US" dirty="0"/>
              <a:t>The </a:t>
            </a:r>
            <a:r>
              <a:rPr lang="en-US" b="1" dirty="0"/>
              <a:t>Image</a:t>
            </a:r>
            <a:r>
              <a:rPr lang="en-US" dirty="0"/>
              <a:t> list holds recently used images and Marketplace images to help you get started. Do one of the following:</a:t>
            </a:r>
          </a:p>
          <a:p>
            <a:pPr lvl="1">
              <a:buFont typeface="Arial"/>
              <a:buChar char="•"/>
            </a:pPr>
            <a:r>
              <a:rPr lang="en-US" dirty="0"/>
              <a:t>Select a VM image from the </a:t>
            </a:r>
            <a:r>
              <a:rPr lang="en-US" b="1" dirty="0"/>
              <a:t>Image</a:t>
            </a:r>
            <a:r>
              <a:rPr lang="en-US" dirty="0"/>
              <a:t> list. Complete the fields and then go to step 12.</a:t>
            </a:r>
          </a:p>
          <a:p>
            <a:pPr lvl="1">
              <a:buFont typeface="Arial"/>
              <a:buChar char="•"/>
            </a:pPr>
            <a:r>
              <a:rPr lang="en-US" dirty="0"/>
              <a:t>Below the </a:t>
            </a:r>
            <a:r>
              <a:rPr lang="en-US" b="1" dirty="0"/>
              <a:t>Image</a:t>
            </a:r>
            <a:r>
              <a:rPr lang="en-US" dirty="0"/>
              <a:t> list, select </a:t>
            </a:r>
            <a:r>
              <a:rPr lang="en-US" b="1" dirty="0"/>
              <a:t>See all images</a:t>
            </a:r>
            <a:r>
              <a:rPr lang="en-US" dirty="0"/>
              <a:t> to open the Marketplace experience.</a:t>
            </a:r>
          </a:p>
          <a:p>
            <a:pPr>
              <a:buFont typeface="Arial"/>
              <a:buChar char="•"/>
            </a:pPr>
            <a:r>
              <a:rPr lang="en-US" dirty="0"/>
              <a:t>You can use the left-nav to help you find the VM you're looking for. The left-nav has the following sections:</a:t>
            </a:r>
          </a:p>
          <a:p>
            <a:pPr lvl="1">
              <a:buFont typeface="Arial"/>
              <a:buChar char="•"/>
            </a:pPr>
            <a:r>
              <a:rPr lang="en-US" b="1" dirty="0"/>
              <a:t>My Items</a:t>
            </a:r>
            <a:r>
              <a:rPr lang="en-US" dirty="0"/>
              <a:t> – VM images created by you or shared with you. To learn more, see </a:t>
            </a:r>
            <a:r>
              <a:rPr lang="en-US" dirty="0">
                <a:hlinkClick r:id="rId5"/>
              </a:rPr>
              <a:t>Store and share images in an Azure Compute Gallery</a:t>
            </a:r>
            <a:r>
              <a:rPr lang="en-US" dirty="0"/>
              <a:t>.</a:t>
            </a:r>
          </a:p>
          <a:p>
            <a:pPr lvl="1">
              <a:buFont typeface="Arial"/>
              <a:buChar char="•"/>
            </a:pPr>
            <a:r>
              <a:rPr lang="en-US" b="1" dirty="0"/>
              <a:t>Marketplace</a:t>
            </a:r>
            <a:r>
              <a:rPr lang="en-US" dirty="0"/>
              <a:t> – Recently created products and </a:t>
            </a:r>
            <a:r>
              <a:rPr lang="en-US" dirty="0">
                <a:hlinkClick r:id="rId6"/>
              </a:rPr>
              <a:t>Marketplace Private products</a:t>
            </a:r>
            <a:r>
              <a:rPr lang="en-US" dirty="0"/>
              <a:t>.</a:t>
            </a:r>
          </a:p>
          <a:p>
            <a:pPr lvl="1">
              <a:buFont typeface="Arial"/>
              <a:buChar char="•"/>
            </a:pPr>
            <a:r>
              <a:rPr lang="en-US" b="1" dirty="0"/>
              <a:t>Categories</a:t>
            </a:r>
            <a:r>
              <a:rPr lang="en-US" dirty="0"/>
              <a:t> – You can filter Marketplace products by category.</a:t>
            </a:r>
          </a:p>
          <a:p>
            <a:pPr lvl="1">
              <a:buFont typeface="Arial"/>
              <a:buChar char="•"/>
            </a:pPr>
            <a:r>
              <a:rPr lang="en-US" b="1" dirty="0"/>
              <a:t>My Images</a:t>
            </a:r>
            <a:r>
              <a:rPr lang="en-US" dirty="0"/>
              <a:t> - To access VM images created by you.</a:t>
            </a:r>
          </a:p>
          <a:p>
            <a:pPr lvl="1">
              <a:buFont typeface="Arial"/>
              <a:buChar char="•"/>
            </a:pPr>
            <a:r>
              <a:rPr lang="en-US" b="1" dirty="0"/>
              <a:t>Shared Images</a:t>
            </a:r>
            <a:r>
              <a:rPr lang="en-US" dirty="0"/>
              <a:t> - To access VM images shared with you. To learn more, see </a:t>
            </a:r>
            <a:r>
              <a:rPr lang="en-US" dirty="0">
                <a:hlinkClick r:id="rId5"/>
              </a:rPr>
              <a:t>Store and share images in an Azure Compute Gallery</a:t>
            </a:r>
            <a:r>
              <a:rPr lang="en-US" dirty="0"/>
              <a:t>.</a:t>
            </a:r>
          </a:p>
          <a:p>
            <a:pPr lvl="1">
              <a:buFont typeface="Arial"/>
              <a:buChar char="•"/>
            </a:pPr>
            <a:r>
              <a:rPr lang="en-US" b="1" dirty="0"/>
              <a:t>Community Images (PREVIEW)</a:t>
            </a:r>
            <a:r>
              <a:rPr lang="en-US" dirty="0"/>
              <a:t> - To access VM images shared by an Azure subscription owner within their Azure subscription.</a:t>
            </a:r>
          </a:p>
          <a:p>
            <a:pPr marL="285750" indent="-2857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7</a:t>
            </a:fld>
            <a:endParaRPr lang="en-US"/>
          </a:p>
        </p:txBody>
      </p:sp>
    </p:spTree>
    <p:extLst>
      <p:ext uri="{BB962C8B-B14F-4D97-AF65-F5344CB8AC3E}">
        <p14:creationId xmlns:p14="http://schemas.microsoft.com/office/powerpoint/2010/main" val="9049088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steps you take to purchase a SaaS offer:</a:t>
            </a:r>
          </a:p>
          <a:p>
            <a:pPr marL="285750" indent="-285750">
              <a:buFont typeface="Arial"/>
              <a:buChar char="•"/>
            </a:pPr>
            <a:r>
              <a:rPr lang="en-US" dirty="0"/>
              <a:t>On the product page, select a plan that meets your needs, and then select </a:t>
            </a:r>
            <a:r>
              <a:rPr lang="en-US" b="1" dirty="0"/>
              <a:t>Set up + subscribe</a:t>
            </a:r>
            <a:r>
              <a:rPr lang="en-US" dirty="0"/>
              <a:t>.</a:t>
            </a:r>
          </a:p>
          <a:p>
            <a:pPr marL="285750" indent="-285750">
              <a:buFont typeface="Arial"/>
              <a:buChar char="•"/>
            </a:pPr>
            <a:r>
              <a:rPr lang="en-US" dirty="0"/>
              <a:t>You're redirected to the </a:t>
            </a:r>
            <a:r>
              <a:rPr lang="en-US" b="1" dirty="0"/>
              <a:t>Basics</a:t>
            </a:r>
            <a:r>
              <a:rPr lang="en-US" dirty="0"/>
              <a:t> tab, where you:</a:t>
            </a:r>
            <a:endParaRPr lang="en-US" dirty="0">
              <a:cs typeface="Calibri"/>
            </a:endParaRPr>
          </a:p>
          <a:p>
            <a:pPr marL="285750" lvl="1" indent="-285750">
              <a:buFont typeface="Arial"/>
              <a:buChar char="•"/>
            </a:pPr>
            <a:r>
              <a:rPr lang="en-US" dirty="0"/>
              <a:t>Define which subscription you want to use for billing. The Azure subscription that you use should have a valid purchase method defined for it. You should have the right level of permissions, or have a resource group under that subscription with the right level of permissions. The billing country/region of the subscription should be a country/region where the offer is available for purchase. Azure subscriptions without a valid payment method (for example, an MSDN subscription) can only be used to purchase free plans.</a:t>
            </a:r>
          </a:p>
          <a:p>
            <a:pPr lvl="1"/>
            <a:r>
              <a:rPr lang="en-US" b="1" dirty="0"/>
              <a:t> Note</a:t>
            </a:r>
            <a:endParaRPr lang="en-US" dirty="0"/>
          </a:p>
          <a:p>
            <a:pPr lvl="1"/>
            <a:r>
              <a:rPr lang="en-US" dirty="0"/>
              <a:t>The following Azure subscriptions can't be used to purchase SaaS: Student, Visual Studio Enterprise, or Free credit.</a:t>
            </a:r>
          </a:p>
          <a:p>
            <a:pPr marL="342900" lvl="1" indent="-342900">
              <a:buChar char="•"/>
            </a:pPr>
            <a:r>
              <a:rPr lang="en-US" dirty="0"/>
              <a:t>Choose or create a resource group to hold the SaaS application.</a:t>
            </a:r>
          </a:p>
          <a:p>
            <a:pPr marL="342900" lvl="1" indent="-342900">
              <a:buChar char="•"/>
            </a:pPr>
            <a:r>
              <a:rPr lang="en-US" dirty="0"/>
              <a:t>Type a name for the SaaS subscription, to easily identify it later. You can't change this name after you have purchased the SaaS subscription.</a:t>
            </a:r>
          </a:p>
          <a:p>
            <a:pPr marL="342900" lvl="1" indent="-342900">
              <a:buChar char="•"/>
            </a:pPr>
            <a:r>
              <a:rPr lang="en-US" dirty="0"/>
              <a:t>Under </a:t>
            </a:r>
            <a:r>
              <a:rPr lang="en-US" b="1" dirty="0"/>
              <a:t>Plan</a:t>
            </a:r>
            <a:r>
              <a:rPr lang="en-US" dirty="0"/>
              <a:t>, you'll see the plan you selected in the product details page (PDP). If you haven't made an active selection in the PDP, you'll see the default plan. You can change your selection by selecting the </a:t>
            </a:r>
            <a:r>
              <a:rPr lang="en-US" b="1" dirty="0"/>
              <a:t>Change plan</a:t>
            </a:r>
            <a:r>
              <a:rPr lang="en-US" dirty="0"/>
              <a:t> link. Then select the plan and billing term you want.</a:t>
            </a:r>
            <a:endParaRPr lang="en-US" dirty="0">
              <a:cs typeface="Calibri"/>
            </a:endParaRPr>
          </a:p>
          <a:p>
            <a:pPr lvl="1"/>
            <a:r>
              <a:rPr lang="en-US" b="1" dirty="0"/>
              <a:t> Note</a:t>
            </a:r>
            <a:endParaRPr lang="en-US" dirty="0"/>
          </a:p>
          <a:p>
            <a:pPr lvl="1"/>
            <a:r>
              <a:rPr lang="en-US" dirty="0"/>
              <a:t>You can only change to another plan that has the same billing term and payment option. For more information, see </a:t>
            </a:r>
            <a:r>
              <a:rPr lang="en-US" b="1" dirty="0">
                <a:hlinkClick r:id="rId3"/>
              </a:rPr>
              <a:t>SaaS subscription lifecycle management</a:t>
            </a:r>
            <a:r>
              <a:rPr lang="en-US" dirty="0"/>
              <a:t>.</a:t>
            </a:r>
            <a:endParaRPr lang="en-US" dirty="0">
              <a:cs typeface="Calibri"/>
            </a:endParaRPr>
          </a:p>
          <a:p>
            <a:pPr marL="342900" lvl="1" indent="-342900">
              <a:buChar char="•"/>
            </a:pPr>
            <a:r>
              <a:rPr lang="en-US" dirty="0"/>
              <a:t>In cases where the pricing model is per user, you'll be required to specify the number of users. The price that you see will change based on the subscription, plan, term, and payment frequency that you've selected.</a:t>
            </a:r>
          </a:p>
          <a:p>
            <a:pPr marL="285750" indent="-285750">
              <a:buFont typeface="Arial"/>
              <a:buChar char="•"/>
            </a:pPr>
            <a:r>
              <a:rPr lang="en-US" dirty="0"/>
              <a:t>Proceed to the </a:t>
            </a:r>
            <a:r>
              <a:rPr lang="en-US" b="1" dirty="0"/>
              <a:t>Tags</a:t>
            </a:r>
            <a:r>
              <a:rPr lang="en-US" dirty="0"/>
              <a:t> tab. </a:t>
            </a:r>
            <a:r>
              <a:rPr lang="en-US" i="1" dirty="0"/>
              <a:t>Tags</a:t>
            </a:r>
            <a:r>
              <a:rPr lang="en-US" dirty="0"/>
              <a:t> are key/value pairs that you can define. You place tags directly on a resource or a resource group, which helps you find your SaaS resource later on. Azure currently supports up to 50 tags per resource and resource group. Place tags on a resource at the time of creation, or add them to an existing resource.</a:t>
            </a:r>
          </a:p>
          <a:p>
            <a:pPr marL="285750" indent="-285750">
              <a:buFont typeface="Arial"/>
              <a:buChar char="•"/>
            </a:pPr>
            <a:r>
              <a:rPr lang="en-US" dirty="0"/>
              <a:t>Continue to </a:t>
            </a:r>
            <a:r>
              <a:rPr lang="en-US" b="1" dirty="0"/>
              <a:t>Review + Subscribe</a:t>
            </a:r>
            <a:r>
              <a:rPr lang="en-US" dirty="0"/>
              <a:t> to go through the offer and plan details.</a:t>
            </a:r>
          </a:p>
          <a:p>
            <a:pPr marL="285750" lvl="1" indent="-285750">
              <a:buFont typeface="Arial"/>
              <a:buChar char="•"/>
            </a:pPr>
            <a:r>
              <a:rPr lang="en-US" dirty="0"/>
              <a:t>Review the terms of use, amendments, and privacy policy of the publisher, and also Azure Marketplace.</a:t>
            </a:r>
          </a:p>
          <a:p>
            <a:pPr marL="285750" lvl="1" indent="-285750">
              <a:buFont typeface="Arial"/>
              <a:buChar char="•"/>
            </a:pPr>
            <a:r>
              <a:rPr lang="en-US" dirty="0"/>
              <a:t>You might be asked to add your contact details.</a:t>
            </a:r>
          </a:p>
          <a:p>
            <a:pPr marL="285750" lvl="1" indent="-285750">
              <a:buFont typeface="Arial"/>
              <a:buChar char="•"/>
            </a:pPr>
            <a:r>
              <a:rPr lang="en-US" dirty="0"/>
              <a:t>Review details for </a:t>
            </a:r>
            <a:r>
              <a:rPr lang="en-US" b="1" dirty="0"/>
              <a:t>Basics</a:t>
            </a:r>
            <a:r>
              <a:rPr lang="en-US" dirty="0"/>
              <a:t> and </a:t>
            </a:r>
            <a:r>
              <a:rPr lang="en-US" b="1" dirty="0"/>
              <a:t>Tags</a:t>
            </a:r>
            <a:r>
              <a:rPr lang="en-US" dirty="0"/>
              <a:t>.</a:t>
            </a:r>
          </a:p>
          <a:p>
            <a:pPr marL="285750" indent="-285750">
              <a:buFont typeface="Arial"/>
              <a:buChar char="•"/>
            </a:pPr>
            <a:r>
              <a:rPr lang="en-US" dirty="0"/>
              <a:t>Upon confirmation, select </a:t>
            </a:r>
            <a:r>
              <a:rPr lang="en-US" b="1" dirty="0"/>
              <a:t>Subscribe</a:t>
            </a:r>
            <a:r>
              <a:rPr lang="en-US" dirty="0"/>
              <a:t>.</a:t>
            </a: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9</a:t>
            </a:fld>
            <a:endParaRPr lang="en-US"/>
          </a:p>
        </p:txBody>
      </p:sp>
    </p:spTree>
    <p:extLst>
      <p:ext uri="{BB962C8B-B14F-4D97-AF65-F5344CB8AC3E}">
        <p14:creationId xmlns:p14="http://schemas.microsoft.com/office/powerpoint/2010/main" val="17824646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rogrammatic deployment of Marketplace products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0</a:t>
            </a:fld>
            <a:endParaRPr lang="en-US"/>
          </a:p>
        </p:txBody>
      </p:sp>
    </p:spTree>
    <p:extLst>
      <p:ext uri="{BB962C8B-B14F-4D97-AF65-F5344CB8AC3E}">
        <p14:creationId xmlns:p14="http://schemas.microsoft.com/office/powerpoint/2010/main" val="25569205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oftware as a Service (SaaS) subscription lifecycle management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1</a:t>
            </a:fld>
            <a:endParaRPr lang="en-US"/>
          </a:p>
        </p:txBody>
      </p:sp>
    </p:spTree>
    <p:extLst>
      <p:ext uri="{BB962C8B-B14F-4D97-AF65-F5344CB8AC3E}">
        <p14:creationId xmlns:p14="http://schemas.microsoft.com/office/powerpoint/2010/main" val="4077240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D48D4D-A873-47E7-80D2-BACB8E08A8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658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Sign in to Azure portal at </a:t>
            </a:r>
            <a:r>
              <a:rPr lang="en-US" dirty="0">
                <a:hlinkClick r:id="rId3"/>
              </a:rPr>
              <a:t>https://portal.azure.com</a:t>
            </a:r>
            <a:r>
              <a:rPr lang="en-US"/>
              <a:t>.</a:t>
            </a:r>
          </a:p>
          <a:p>
            <a:pPr marL="285750" indent="-285750">
              <a:buFont typeface="Arial"/>
              <a:buChar char="•"/>
            </a:pPr>
            <a:r>
              <a:rPr lang="en-US"/>
              <a:t>Under </a:t>
            </a:r>
            <a:r>
              <a:rPr lang="en-US" b="1"/>
              <a:t>Azure services</a:t>
            </a:r>
            <a:r>
              <a:rPr lang="en-US"/>
              <a:t>, select </a:t>
            </a:r>
            <a:r>
              <a:rPr lang="en-US" b="1"/>
              <a:t>+ Create a resource</a:t>
            </a:r>
            <a:r>
              <a:rPr lang="en-US"/>
              <a:t>.</a:t>
            </a:r>
          </a:p>
          <a:p>
            <a:pPr marL="285750" indent="-285750">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marL="285750" indent="-285750">
              <a:buFont typeface="Arial"/>
              <a:buChar char="•"/>
            </a:pPr>
            <a:r>
              <a:rPr lang="en-US" dirty="0"/>
              <a:t>To filter the results on Azure Application offers, select the </a:t>
            </a:r>
            <a:r>
              <a:rPr lang="en-US" b="1" dirty="0"/>
              <a:t>Product Type</a:t>
            </a:r>
            <a:r>
              <a:rPr lang="en-US" dirty="0"/>
              <a:t> filter near the top of the page, and then select </a:t>
            </a:r>
            <a:r>
              <a:rPr lang="en-US" b="1" dirty="0"/>
              <a:t>Azure Applications</a:t>
            </a:r>
            <a:r>
              <a:rPr lang="en-US" dirty="0"/>
              <a:t>.</a:t>
            </a:r>
            <a:endParaRPr lang="en-US" dirty="0">
              <a:cs typeface="Calibri"/>
            </a:endParaRPr>
          </a:p>
          <a:p>
            <a:pPr marL="285750" indent="-285750">
              <a:buFont typeface="Arial"/>
              <a:buChar char="•"/>
            </a:pPr>
            <a:r>
              <a:rPr lang="en-US" dirty="0"/>
              <a:t>You can optionally filter the results using the following filters.</a:t>
            </a:r>
            <a:endParaRPr lang="en-US" dirty="0">
              <a:cs typeface="Calibri"/>
            </a:endParaRPr>
          </a:p>
          <a:p>
            <a:r>
              <a:rPr lang="en-US" b="1" dirty="0"/>
              <a:t>Filter group</a:t>
            </a:r>
            <a:endParaRPr lang="en-US" dirty="0"/>
          </a:p>
          <a:p>
            <a:r>
              <a:rPr lang="en-US" b="1" dirty="0"/>
              <a:t>Description</a:t>
            </a:r>
            <a:endParaRPr lang="en-US" dirty="0"/>
          </a:p>
          <a:p>
            <a:r>
              <a:rPr lang="en-US" dirty="0"/>
              <a:t>Pricing</a:t>
            </a:r>
            <a:endParaRPr lang="en-US" dirty="0">
              <a:cs typeface="Calibri"/>
            </a:endParaRPr>
          </a:p>
          <a:p>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core, per core size, or per market (customer sold-to address) and core size</a:t>
            </a:r>
            <a:endParaRPr lang="en-US" dirty="0">
              <a:cs typeface="Calibri"/>
            </a:endParaRPr>
          </a:p>
          <a:p>
            <a:r>
              <a:rPr lang="en-US" dirty="0"/>
              <a:t>Publisher Type</a:t>
            </a:r>
            <a:endParaRPr lang="en-US" dirty="0">
              <a:cs typeface="Calibri"/>
            </a:endParaRPr>
          </a:p>
          <a:p>
            <a:r>
              <a:rPr lang="en-US" dirty="0"/>
              <a:t>Select Microsoft, Partners, or both</a:t>
            </a:r>
            <a:endParaRPr lang="en-US" dirty="0">
              <a:cs typeface="Calibri"/>
            </a:endParaRPr>
          </a:p>
          <a:p>
            <a:r>
              <a:rPr lang="en-US" dirty="0"/>
              <a:t>Publisher name</a:t>
            </a:r>
            <a:endParaRPr lang="en-US" dirty="0">
              <a:cs typeface="Calibri"/>
            </a:endParaRPr>
          </a:p>
          <a:p>
            <a:r>
              <a:rPr lang="en-US" dirty="0"/>
              <a:t>Filter the products based on the publisher's name</a:t>
            </a:r>
            <a:endParaRPr lang="en-US" dirty="0">
              <a:cs typeface="Calibri"/>
            </a:endParaRPr>
          </a:p>
          <a:p>
            <a:pPr marL="285750" indent="-285750">
              <a:buFont typeface="Arial"/>
              <a:buChar char="•"/>
            </a:pPr>
            <a:r>
              <a:rPr lang="en-US" dirty="0"/>
              <a:t>You can optionally select a category on the left-side of the page to further filter the results.</a:t>
            </a:r>
            <a:endParaRPr lang="en-US" dirty="0">
              <a:cs typeface="Calibri"/>
            </a:endParaRPr>
          </a:p>
          <a:p>
            <a:pPr marL="285750" indent="-285750">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marL="285750" indent="-285750">
              <a:buFont typeface="Arial"/>
              <a:buChar char="•"/>
            </a:pPr>
            <a:r>
              <a:rPr lang="en-US" dirty="0"/>
              <a:t>Select the Azure Application offer you want.</a:t>
            </a:r>
            <a:endParaRPr lang="en-US" dirty="0">
              <a:cs typeface="Calibri"/>
            </a:endParaRPr>
          </a:p>
          <a:p>
            <a:pPr marL="285750" indent="-285750">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marL="285750" indent="-285750">
              <a:buFont typeface="Arial"/>
              <a:buChar char="•"/>
            </a:pPr>
            <a:r>
              <a:rPr lang="en-US" dirty="0"/>
              <a:t>Select </a:t>
            </a:r>
            <a:r>
              <a:rPr lang="en-US" b="1" dirty="0"/>
              <a:t>Create</a:t>
            </a:r>
            <a:r>
              <a:rPr lang="en-US" dirty="0"/>
              <a:t>. The </a:t>
            </a:r>
            <a:r>
              <a:rPr lang="en-US" b="1" dirty="0"/>
              <a:t>Create </a:t>
            </a:r>
            <a:r>
              <a:rPr lang="en-US" b="1" i="1" dirty="0"/>
              <a:t>Offer Name</a:t>
            </a:r>
            <a:r>
              <a:rPr lang="en-US" dirty="0"/>
              <a:t> page appears.</a:t>
            </a:r>
            <a:endParaRPr lang="en-US" dirty="0">
              <a:cs typeface="Calibri"/>
            </a:endParaRPr>
          </a:p>
          <a:p>
            <a:pPr marL="285750" indent="-285750">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marL="285750" lvl="1" indent="-285750">
              <a:buFont typeface="Arial"/>
              <a:buChar char="•"/>
            </a:pPr>
            <a:r>
              <a:rPr lang="en-US" dirty="0"/>
              <a:t>From the </a:t>
            </a:r>
            <a:r>
              <a:rPr lang="en-US" b="1" dirty="0"/>
              <a:t>Resource group</a:t>
            </a:r>
            <a:r>
              <a:rPr lang="en-US" dirty="0"/>
              <a:t> list, select an existing resource group.</a:t>
            </a:r>
            <a:endParaRPr lang="en-US" dirty="0">
              <a:cs typeface="Calibri"/>
            </a:endParaRPr>
          </a:p>
          <a:p>
            <a:pPr marL="285750" lvl="1" indent="-285750">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marL="285750" indent="-285750">
              <a:buFont typeface="Arial"/>
              <a:buChar char="•"/>
            </a:pPr>
            <a:r>
              <a:rPr lang="en-US" dirty="0"/>
              <a:t>Complete any remaining fields on the page, and then select </a:t>
            </a:r>
            <a:r>
              <a:rPr lang="en-US" b="1" dirty="0"/>
              <a:t>Review + create</a:t>
            </a:r>
            <a:r>
              <a:rPr lang="en-US" dirty="0"/>
              <a:t>. Other input fields in the Marketplace experience vary between publishers and offers. Each offer might collect different input based on </a:t>
            </a:r>
            <a:r>
              <a:rPr lang="en-US" dirty="0" err="1"/>
              <a:t>it's</a:t>
            </a:r>
            <a:r>
              <a:rPr lang="en-US" dirty="0"/>
              <a:t> need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37</a:t>
            </a:fld>
            <a:endParaRPr lang="en-US"/>
          </a:p>
        </p:txBody>
      </p:sp>
    </p:spTree>
    <p:extLst>
      <p:ext uri="{BB962C8B-B14F-4D97-AF65-F5344CB8AC3E}">
        <p14:creationId xmlns:p14="http://schemas.microsoft.com/office/powerpoint/2010/main" val="17763278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a:t>Under </a:t>
            </a:r>
            <a:r>
              <a:rPr lang="en-US" b="1"/>
              <a:t>Azure services</a:t>
            </a:r>
            <a:r>
              <a:rPr lang="en-US"/>
              <a:t>, select </a:t>
            </a:r>
            <a:r>
              <a:rPr lang="en-US" b="1"/>
              <a:t>+ Create a resource</a:t>
            </a:r>
            <a:r>
              <a:rPr lang="en-US"/>
              <a:t>.</a:t>
            </a:r>
          </a:p>
          <a:p>
            <a:pPr>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a:buFont typeface="Arial"/>
              <a:buChar char="•"/>
            </a:pPr>
            <a:r>
              <a:rPr lang="en-US" dirty="0"/>
              <a:t>To filter the results on virtual machine offers, select the </a:t>
            </a:r>
            <a:r>
              <a:rPr lang="en-US" b="1" dirty="0"/>
              <a:t>Product Type</a:t>
            </a:r>
            <a:r>
              <a:rPr lang="en-US" dirty="0"/>
              <a:t> filter near the top of the page, and then select </a:t>
            </a:r>
            <a:r>
              <a:rPr lang="en-US" b="1" dirty="0"/>
              <a:t>Virtual Machine</a:t>
            </a:r>
            <a:r>
              <a:rPr lang="en-US" dirty="0"/>
              <a:t>.</a:t>
            </a:r>
            <a:endParaRPr lang="en-US" dirty="0">
              <a:cs typeface="Calibri"/>
            </a:endParaRPr>
          </a:p>
          <a:p>
            <a:pPr>
              <a:buFont typeface="Arial"/>
              <a:buChar char="•"/>
            </a:pPr>
            <a:r>
              <a:rPr lang="en-US" dirty="0"/>
              <a:t>You can optionally filter the results using the following filters.</a:t>
            </a:r>
          </a:p>
          <a:p>
            <a:pPr>
              <a:buFont typeface="Arial"/>
              <a:buChar char="•"/>
            </a:pPr>
            <a:r>
              <a:rPr lang="en-US" b="1" dirty="0"/>
              <a:t>Filter group</a:t>
            </a:r>
            <a:endParaRPr lang="en-US" dirty="0"/>
          </a:p>
          <a:p>
            <a:pPr>
              <a:buFont typeface="Arial"/>
              <a:buChar char="•"/>
            </a:pPr>
            <a:r>
              <a:rPr lang="en-US" b="1" dirty="0"/>
              <a:t>Description</a:t>
            </a:r>
            <a:endParaRPr lang="en-US" dirty="0"/>
          </a:p>
          <a:p>
            <a:pPr>
              <a:buFont typeface="Arial"/>
              <a:buChar char="•"/>
            </a:pPr>
            <a:r>
              <a:rPr lang="en-US" dirty="0"/>
              <a:t>Pricing</a:t>
            </a:r>
            <a:endParaRPr lang="en-US" dirty="0">
              <a:cs typeface="Calibri"/>
            </a:endParaRPr>
          </a:p>
          <a:p>
            <a:pPr>
              <a:buFont typeface="Arial"/>
              <a:buChar char="•"/>
            </a:pPr>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vCPU, per vCPU size, or per market (customer sold-to address) and vCPU size</a:t>
            </a:r>
            <a:endParaRPr lang="en-US" dirty="0">
              <a:cs typeface="Calibri"/>
            </a:endParaRPr>
          </a:p>
          <a:p>
            <a:pPr>
              <a:buFont typeface="Arial"/>
              <a:buChar char="•"/>
            </a:pPr>
            <a:r>
              <a:rPr lang="en-US" dirty="0"/>
              <a:t>Operating System</a:t>
            </a:r>
            <a:endParaRPr lang="en-US" dirty="0">
              <a:cs typeface="Calibri"/>
            </a:endParaRPr>
          </a:p>
          <a:p>
            <a:pPr>
              <a:buFont typeface="Arial"/>
              <a:buChar char="•"/>
            </a:pPr>
            <a:r>
              <a:rPr lang="en-US" dirty="0"/>
              <a:t>Filter by the OS the VM image is using</a:t>
            </a:r>
          </a:p>
          <a:p>
            <a:pPr>
              <a:buFont typeface="Arial"/>
              <a:buChar char="•"/>
            </a:pPr>
            <a:r>
              <a:rPr lang="en-US" dirty="0"/>
              <a:t>Publisher Type</a:t>
            </a:r>
            <a:endParaRPr lang="en-US" dirty="0">
              <a:cs typeface="Calibri"/>
            </a:endParaRPr>
          </a:p>
          <a:p>
            <a:pPr>
              <a:buFont typeface="Arial"/>
              <a:buChar char="•"/>
            </a:pPr>
            <a:r>
              <a:rPr lang="en-US" dirty="0"/>
              <a:t>Select Microsoft, Partners, or both</a:t>
            </a:r>
          </a:p>
          <a:p>
            <a:pPr>
              <a:buFont typeface="Arial"/>
              <a:buChar char="•"/>
            </a:pPr>
            <a:r>
              <a:rPr lang="en-US" dirty="0"/>
              <a:t>Publisher name</a:t>
            </a:r>
            <a:endParaRPr lang="en-US" dirty="0">
              <a:cs typeface="Calibri"/>
            </a:endParaRPr>
          </a:p>
          <a:p>
            <a:pPr>
              <a:buFont typeface="Arial"/>
              <a:buChar char="•"/>
            </a:pPr>
            <a:r>
              <a:rPr lang="en-US" dirty="0"/>
              <a:t>Filter the products based on the publisher's name</a:t>
            </a:r>
          </a:p>
          <a:p>
            <a:pPr>
              <a:buFont typeface="Arial"/>
              <a:buChar char="•"/>
            </a:pPr>
            <a:r>
              <a:rPr lang="en-US" dirty="0"/>
              <a:t>You can optionally select a category on the left-side of the page to further filter the results.</a:t>
            </a:r>
          </a:p>
          <a:p>
            <a:pPr>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a:buFont typeface="Arial"/>
              <a:buChar char="•"/>
            </a:pPr>
            <a:r>
              <a:rPr lang="en-US" dirty="0"/>
              <a:t>Select the VM offer you want.</a:t>
            </a:r>
          </a:p>
          <a:p>
            <a:pPr>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a:buFont typeface="Arial"/>
              <a:buChar char="•"/>
            </a:pPr>
            <a:r>
              <a:rPr lang="en-US" dirty="0"/>
              <a:t>Select </a:t>
            </a:r>
            <a:r>
              <a:rPr lang="en-US" b="1" dirty="0"/>
              <a:t>Create</a:t>
            </a:r>
            <a:r>
              <a:rPr lang="en-US" dirty="0"/>
              <a:t>. The </a:t>
            </a:r>
            <a:r>
              <a:rPr lang="en-US" b="1" dirty="0"/>
              <a:t>Create a virtual machine</a:t>
            </a:r>
            <a:r>
              <a:rPr lang="en-US" dirty="0"/>
              <a:t> page appears.</a:t>
            </a:r>
            <a:endParaRPr lang="en-US" dirty="0">
              <a:cs typeface="Calibri"/>
            </a:endParaRP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lvl="1">
              <a:buFont typeface="Arial"/>
              <a:buChar char="•"/>
            </a:pPr>
            <a:r>
              <a:rPr lang="en-US" dirty="0"/>
              <a:t>From the </a:t>
            </a:r>
            <a:r>
              <a:rPr lang="en-US" b="1" dirty="0"/>
              <a:t>Resource group</a:t>
            </a:r>
            <a:r>
              <a:rPr lang="en-US" dirty="0"/>
              <a:t> list, select an existing resource group.</a:t>
            </a:r>
            <a:endParaRPr lang="en-US" dirty="0">
              <a:cs typeface="Calibri"/>
            </a:endParaRP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a:buFont typeface="Arial"/>
              <a:buChar char="•"/>
            </a:pPr>
            <a:r>
              <a:rPr lang="en-US" dirty="0"/>
              <a:t>Under </a:t>
            </a:r>
            <a:r>
              <a:rPr lang="en-US" b="1" dirty="0"/>
              <a:t>Instance details</a:t>
            </a:r>
            <a:r>
              <a:rPr lang="en-US" dirty="0"/>
              <a:t>, do the following:</a:t>
            </a:r>
            <a:endParaRPr lang="en-US" dirty="0">
              <a:cs typeface="Calibri"/>
            </a:endParaRPr>
          </a:p>
          <a:p>
            <a:pPr lvl="1">
              <a:buFont typeface="Arial"/>
              <a:buChar char="•"/>
            </a:pPr>
            <a:r>
              <a:rPr lang="en-US" dirty="0"/>
              <a:t>In the </a:t>
            </a:r>
            <a:r>
              <a:rPr lang="en-US" b="1" dirty="0"/>
              <a:t>Virtual machine</a:t>
            </a:r>
            <a:r>
              <a:rPr lang="en-US" dirty="0"/>
              <a:t> name box, enter the name you want for this VM.</a:t>
            </a:r>
            <a:endParaRPr lang="en-US" dirty="0">
              <a:cs typeface="Calibri"/>
            </a:endParaRPr>
          </a:p>
          <a:p>
            <a:pPr lvl="1">
              <a:buFont typeface="Arial"/>
              <a:buChar char="•"/>
            </a:pPr>
            <a:r>
              <a:rPr lang="en-US" dirty="0"/>
              <a:t>From the </a:t>
            </a:r>
            <a:r>
              <a:rPr lang="en-US" b="1" dirty="0"/>
              <a:t>Region</a:t>
            </a:r>
            <a:r>
              <a:rPr lang="en-US" dirty="0"/>
              <a:t> list, choose the region you want.</a:t>
            </a:r>
            <a:endParaRPr lang="en-US" dirty="0">
              <a:cs typeface="Calibri"/>
            </a:endParaRPr>
          </a:p>
          <a:p>
            <a:pPr lvl="1">
              <a:buFont typeface="Arial"/>
              <a:buChar char="•"/>
            </a:pPr>
            <a:r>
              <a:rPr lang="en-US" dirty="0"/>
              <a:t>From the </a:t>
            </a:r>
            <a:r>
              <a:rPr lang="en-US" b="1" dirty="0"/>
              <a:t>Size</a:t>
            </a:r>
            <a:r>
              <a:rPr lang="en-US" dirty="0"/>
              <a:t> list, select the VM size you want.</a:t>
            </a:r>
            <a:endParaRPr lang="en-US" dirty="0">
              <a:cs typeface="Calibri"/>
            </a:endParaRPr>
          </a:p>
          <a:p>
            <a:pPr>
              <a:buFont typeface="Arial"/>
              <a:buChar char="•"/>
            </a:pPr>
            <a:r>
              <a:rPr lang="en-US" dirty="0"/>
              <a:t>Complete the remaining fields on the page. Then select </a:t>
            </a:r>
            <a:r>
              <a:rPr lang="en-US" b="1" dirty="0"/>
              <a:t>Review + create</a:t>
            </a:r>
            <a:r>
              <a:rPr lang="en-US" dirty="0"/>
              <a:t>.</a:t>
            </a:r>
            <a:endParaRPr lang="en-US" dirty="0">
              <a:cs typeface="Calibri"/>
            </a:endParaRPr>
          </a:p>
          <a:p>
            <a:pPr>
              <a:buFont typeface="Arial"/>
              <a:buChar char="•"/>
            </a:pPr>
            <a:r>
              <a:rPr lang="en-US" b="1" dirty="0"/>
              <a:t>Purchase a VM using search</a:t>
            </a:r>
            <a:endParaRPr lang="en-US" dirty="0"/>
          </a:p>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dirty="0"/>
              <a:t>In the search box, enter </a:t>
            </a:r>
            <a:r>
              <a:rPr lang="en-US" b="1" dirty="0"/>
              <a:t>virtual machines</a:t>
            </a:r>
            <a:r>
              <a:rPr lang="en-US" dirty="0"/>
              <a:t>.</a:t>
            </a:r>
            <a:endParaRPr lang="en-US" dirty="0">
              <a:cs typeface="Calibri"/>
            </a:endParaRPr>
          </a:p>
          <a:p>
            <a:pPr>
              <a:buFont typeface="Arial"/>
              <a:buChar char="•"/>
            </a:pPr>
            <a:r>
              <a:rPr lang="en-US" dirty="0"/>
              <a:t>Under </a:t>
            </a:r>
            <a:r>
              <a:rPr lang="en-US" b="1" dirty="0"/>
              <a:t>Services</a:t>
            </a:r>
            <a:r>
              <a:rPr lang="en-US" dirty="0"/>
              <a:t>, select </a:t>
            </a:r>
            <a:r>
              <a:rPr lang="en-US" b="1" dirty="0"/>
              <a:t>Virtual machines</a:t>
            </a:r>
            <a:r>
              <a:rPr lang="en-US" dirty="0"/>
              <a:t>.</a:t>
            </a:r>
            <a:endParaRPr lang="en-US" dirty="0">
              <a:cs typeface="Calibri"/>
            </a:endParaRPr>
          </a:p>
          <a:p>
            <a:pPr>
              <a:buFont typeface="Arial"/>
              <a:buChar char="•"/>
            </a:pPr>
            <a:r>
              <a:rPr lang="en-US" dirty="0"/>
              <a:t>On the </a:t>
            </a:r>
            <a:r>
              <a:rPr lang="en-US" b="1" dirty="0"/>
              <a:t>Virtual machines</a:t>
            </a:r>
            <a:r>
              <a:rPr lang="en-US" dirty="0"/>
              <a:t> page, select </a:t>
            </a:r>
            <a:r>
              <a:rPr lang="en-US" b="1" dirty="0"/>
              <a:t>+ Create</a:t>
            </a:r>
            <a:r>
              <a:rPr lang="en-US" dirty="0"/>
              <a:t> &gt; </a:t>
            </a:r>
            <a:r>
              <a:rPr lang="en-US" b="1" dirty="0"/>
              <a:t>+ Virtual machine</a:t>
            </a:r>
            <a:r>
              <a:rPr lang="en-US" dirty="0"/>
              <a:t>. The </a:t>
            </a:r>
            <a:r>
              <a:rPr lang="en-US" b="1" dirty="0"/>
              <a:t>Create a virtual machine</a:t>
            </a:r>
            <a:r>
              <a:rPr lang="en-US" dirty="0"/>
              <a:t> page appears.</a:t>
            </a: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p>
          <a:p>
            <a:pPr lvl="1">
              <a:buFont typeface="Arial"/>
              <a:buChar char="•"/>
            </a:pPr>
            <a:r>
              <a:rPr lang="en-US" dirty="0"/>
              <a:t>From the </a:t>
            </a:r>
            <a:r>
              <a:rPr lang="en-US" b="1" dirty="0"/>
              <a:t>Resource group</a:t>
            </a:r>
            <a:r>
              <a:rPr lang="en-US" dirty="0"/>
              <a:t> list, select an existing resource group.</a:t>
            </a: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p>
          <a:p>
            <a:pPr>
              <a:buFont typeface="Arial"/>
              <a:buChar char="•"/>
            </a:pPr>
            <a:r>
              <a:rPr lang="en-US" dirty="0"/>
              <a:t>Under </a:t>
            </a:r>
            <a:r>
              <a:rPr lang="en-US" b="1" dirty="0"/>
              <a:t>Instance details</a:t>
            </a:r>
            <a:r>
              <a:rPr lang="en-US" dirty="0"/>
              <a:t>, do the following:</a:t>
            </a:r>
          </a:p>
          <a:p>
            <a:pPr lvl="1">
              <a:buFont typeface="Arial"/>
              <a:buChar char="•"/>
            </a:pPr>
            <a:r>
              <a:rPr lang="en-US" dirty="0"/>
              <a:t>In the </a:t>
            </a:r>
            <a:r>
              <a:rPr lang="en-US" b="1" dirty="0"/>
              <a:t>Virtual machine</a:t>
            </a:r>
            <a:r>
              <a:rPr lang="en-US" dirty="0"/>
              <a:t> name box, enter the name you want for this VM.</a:t>
            </a:r>
          </a:p>
          <a:p>
            <a:pPr lvl="1">
              <a:buFont typeface="Arial"/>
              <a:buChar char="•"/>
            </a:pPr>
            <a:r>
              <a:rPr lang="en-US" dirty="0"/>
              <a:t>From the </a:t>
            </a:r>
            <a:r>
              <a:rPr lang="en-US" b="1" dirty="0"/>
              <a:t>Region</a:t>
            </a:r>
            <a:r>
              <a:rPr lang="en-US" dirty="0"/>
              <a:t> list, choose the region you want.</a:t>
            </a:r>
          </a:p>
          <a:p>
            <a:pPr>
              <a:buFont typeface="Arial"/>
              <a:buChar char="•"/>
            </a:pPr>
            <a:r>
              <a:rPr lang="en-US" dirty="0"/>
              <a:t>The </a:t>
            </a:r>
            <a:r>
              <a:rPr lang="en-US" b="1" dirty="0"/>
              <a:t>Image</a:t>
            </a:r>
            <a:r>
              <a:rPr lang="en-US" dirty="0"/>
              <a:t> list holds recently used images and Marketplace images to help you get started. Do one of the following:</a:t>
            </a:r>
          </a:p>
          <a:p>
            <a:pPr lvl="1">
              <a:buFont typeface="Arial"/>
              <a:buChar char="•"/>
            </a:pPr>
            <a:r>
              <a:rPr lang="en-US" dirty="0"/>
              <a:t>Select a VM image from the </a:t>
            </a:r>
            <a:r>
              <a:rPr lang="en-US" b="1" dirty="0"/>
              <a:t>Image</a:t>
            </a:r>
            <a:r>
              <a:rPr lang="en-US" dirty="0"/>
              <a:t> list. Complete the fields and then go to step 12.</a:t>
            </a:r>
          </a:p>
          <a:p>
            <a:pPr lvl="1">
              <a:buFont typeface="Arial"/>
              <a:buChar char="•"/>
            </a:pPr>
            <a:r>
              <a:rPr lang="en-US" dirty="0"/>
              <a:t>Below the </a:t>
            </a:r>
            <a:r>
              <a:rPr lang="en-US" b="1" dirty="0"/>
              <a:t>Image</a:t>
            </a:r>
            <a:r>
              <a:rPr lang="en-US" dirty="0"/>
              <a:t> list, select </a:t>
            </a:r>
            <a:r>
              <a:rPr lang="en-US" b="1" dirty="0"/>
              <a:t>See all images</a:t>
            </a:r>
            <a:r>
              <a:rPr lang="en-US" dirty="0"/>
              <a:t> to open the Marketplace experience.</a:t>
            </a:r>
          </a:p>
          <a:p>
            <a:pPr>
              <a:buFont typeface="Arial"/>
              <a:buChar char="•"/>
            </a:pPr>
            <a:r>
              <a:rPr lang="en-US" dirty="0"/>
              <a:t>You can use the left-nav to help you find the VM you're looking for. The left-nav has the following sections:</a:t>
            </a:r>
          </a:p>
          <a:p>
            <a:pPr lvl="1">
              <a:buFont typeface="Arial"/>
              <a:buChar char="•"/>
            </a:pPr>
            <a:r>
              <a:rPr lang="en-US" b="1" dirty="0"/>
              <a:t>My Items</a:t>
            </a:r>
            <a:r>
              <a:rPr lang="en-US" dirty="0"/>
              <a:t> – VM images created by you or shared with you. To learn more, see </a:t>
            </a:r>
            <a:r>
              <a:rPr lang="en-US" dirty="0">
                <a:hlinkClick r:id="rId5"/>
              </a:rPr>
              <a:t>Store and share images in an Azure Compute Gallery</a:t>
            </a:r>
            <a:r>
              <a:rPr lang="en-US" dirty="0"/>
              <a:t>.</a:t>
            </a:r>
          </a:p>
          <a:p>
            <a:pPr lvl="1">
              <a:buFont typeface="Arial"/>
              <a:buChar char="•"/>
            </a:pPr>
            <a:r>
              <a:rPr lang="en-US" b="1" dirty="0"/>
              <a:t>Marketplace</a:t>
            </a:r>
            <a:r>
              <a:rPr lang="en-US" dirty="0"/>
              <a:t> – Recently created products and </a:t>
            </a:r>
            <a:r>
              <a:rPr lang="en-US" dirty="0">
                <a:hlinkClick r:id="rId6"/>
              </a:rPr>
              <a:t>Marketplace Private products</a:t>
            </a:r>
            <a:r>
              <a:rPr lang="en-US" dirty="0"/>
              <a:t>.</a:t>
            </a:r>
          </a:p>
          <a:p>
            <a:pPr lvl="1">
              <a:buFont typeface="Arial"/>
              <a:buChar char="•"/>
            </a:pPr>
            <a:r>
              <a:rPr lang="en-US" b="1" dirty="0"/>
              <a:t>Categories</a:t>
            </a:r>
            <a:r>
              <a:rPr lang="en-US" dirty="0"/>
              <a:t> – You can filter Marketplace products by category.</a:t>
            </a:r>
          </a:p>
          <a:p>
            <a:pPr lvl="1">
              <a:buFont typeface="Arial"/>
              <a:buChar char="•"/>
            </a:pPr>
            <a:r>
              <a:rPr lang="en-US" b="1" dirty="0"/>
              <a:t>My Images</a:t>
            </a:r>
            <a:r>
              <a:rPr lang="en-US" dirty="0"/>
              <a:t> - To access VM images created by you.</a:t>
            </a:r>
          </a:p>
          <a:p>
            <a:pPr lvl="1">
              <a:buFont typeface="Arial"/>
              <a:buChar char="•"/>
            </a:pPr>
            <a:r>
              <a:rPr lang="en-US" b="1" dirty="0"/>
              <a:t>Shared Images</a:t>
            </a:r>
            <a:r>
              <a:rPr lang="en-US" dirty="0"/>
              <a:t> - To access VM images shared with you. To learn more, see </a:t>
            </a:r>
            <a:r>
              <a:rPr lang="en-US" dirty="0">
                <a:hlinkClick r:id="rId5"/>
              </a:rPr>
              <a:t>Store and share images in an Azure Compute Gallery</a:t>
            </a:r>
            <a:r>
              <a:rPr lang="en-US" dirty="0"/>
              <a:t>.</a:t>
            </a:r>
          </a:p>
          <a:p>
            <a:pPr lvl="1">
              <a:buFont typeface="Arial"/>
              <a:buChar char="•"/>
            </a:pPr>
            <a:r>
              <a:rPr lang="en-US" b="1" dirty="0"/>
              <a:t>Community Images (PREVIEW)</a:t>
            </a:r>
            <a:r>
              <a:rPr lang="en-US" dirty="0"/>
              <a:t> - To access VM images shared by an Azure subscription owner within their Azure subscription.</a:t>
            </a:r>
          </a:p>
          <a:p>
            <a:pPr marL="285750" indent="-2857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38</a:t>
            </a:fld>
            <a:endParaRPr lang="en-US"/>
          </a:p>
        </p:txBody>
      </p:sp>
    </p:spTree>
    <p:extLst>
      <p:ext uri="{BB962C8B-B14F-4D97-AF65-F5344CB8AC3E}">
        <p14:creationId xmlns:p14="http://schemas.microsoft.com/office/powerpoint/2010/main" val="2346566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steps you take to purchase a SaaS offer:</a:t>
            </a:r>
          </a:p>
          <a:p>
            <a:pPr marL="285750" indent="-285750">
              <a:buFont typeface="Arial"/>
              <a:buChar char="•"/>
            </a:pPr>
            <a:r>
              <a:rPr lang="en-US" dirty="0"/>
              <a:t>On the product page, select a plan that meets your needs, and then select </a:t>
            </a:r>
            <a:r>
              <a:rPr lang="en-US" b="1" dirty="0"/>
              <a:t>Set up + subscribe</a:t>
            </a:r>
            <a:r>
              <a:rPr lang="en-US" dirty="0"/>
              <a:t>.</a:t>
            </a:r>
          </a:p>
          <a:p>
            <a:pPr marL="285750" indent="-285750">
              <a:buFont typeface="Arial"/>
              <a:buChar char="•"/>
            </a:pPr>
            <a:r>
              <a:rPr lang="en-US" dirty="0"/>
              <a:t>You're redirected to the </a:t>
            </a:r>
            <a:r>
              <a:rPr lang="en-US" b="1" dirty="0"/>
              <a:t>Basics</a:t>
            </a:r>
            <a:r>
              <a:rPr lang="en-US" dirty="0"/>
              <a:t> tab, where you:</a:t>
            </a:r>
            <a:endParaRPr lang="en-US" dirty="0">
              <a:cs typeface="Calibri"/>
            </a:endParaRPr>
          </a:p>
          <a:p>
            <a:pPr marL="285750" lvl="1" indent="-285750">
              <a:buFont typeface="Arial"/>
              <a:buChar char="•"/>
            </a:pPr>
            <a:r>
              <a:rPr lang="en-US" dirty="0"/>
              <a:t>Define which subscription you want to use for billing. The Azure subscription that you use should have a valid purchase method defined for it. You should have the right level of permissions, or have a resource group under that subscription with the right level of permissions. The billing country/region of the subscription should be a country/region where the offer is available for purchase. Azure subscriptions without a valid payment method (for example, an MSDN subscription) can only be used to purchase free plans.</a:t>
            </a:r>
          </a:p>
          <a:p>
            <a:pPr lvl="1"/>
            <a:r>
              <a:rPr lang="en-US" b="1" dirty="0"/>
              <a:t> Note</a:t>
            </a:r>
            <a:endParaRPr lang="en-US" dirty="0"/>
          </a:p>
          <a:p>
            <a:pPr lvl="1"/>
            <a:r>
              <a:rPr lang="en-US" dirty="0"/>
              <a:t>The following Azure subscriptions can't be used to purchase SaaS: Student, Visual Studio Enterprise, or Free credit.</a:t>
            </a:r>
          </a:p>
          <a:p>
            <a:pPr marL="342900" lvl="1" indent="-342900">
              <a:buChar char="•"/>
            </a:pPr>
            <a:r>
              <a:rPr lang="en-US" dirty="0"/>
              <a:t>Choose or create a resource group to hold the SaaS application.</a:t>
            </a:r>
          </a:p>
          <a:p>
            <a:pPr marL="342900" lvl="1" indent="-342900">
              <a:buChar char="•"/>
            </a:pPr>
            <a:r>
              <a:rPr lang="en-US" dirty="0"/>
              <a:t>Type a name for the SaaS subscription, to easily identify it later. You can't change this name after you have purchased the SaaS subscription.</a:t>
            </a:r>
          </a:p>
          <a:p>
            <a:pPr marL="342900" lvl="1" indent="-342900">
              <a:buChar char="•"/>
            </a:pPr>
            <a:r>
              <a:rPr lang="en-US" dirty="0"/>
              <a:t>Under </a:t>
            </a:r>
            <a:r>
              <a:rPr lang="en-US" b="1" dirty="0"/>
              <a:t>Plan</a:t>
            </a:r>
            <a:r>
              <a:rPr lang="en-US" dirty="0"/>
              <a:t>, you'll see the plan you selected in the product details page (PDP). If you haven't made an active selection in the PDP, you'll see the default plan. You can change your selection by selecting the </a:t>
            </a:r>
            <a:r>
              <a:rPr lang="en-US" b="1" dirty="0"/>
              <a:t>Change plan</a:t>
            </a:r>
            <a:r>
              <a:rPr lang="en-US" dirty="0"/>
              <a:t> link. Then select the plan and billing term you want.</a:t>
            </a:r>
            <a:endParaRPr lang="en-US" dirty="0">
              <a:cs typeface="Calibri"/>
            </a:endParaRPr>
          </a:p>
          <a:p>
            <a:pPr lvl="1"/>
            <a:r>
              <a:rPr lang="en-US" b="1" dirty="0"/>
              <a:t> Note</a:t>
            </a:r>
            <a:endParaRPr lang="en-US" dirty="0"/>
          </a:p>
          <a:p>
            <a:pPr lvl="1"/>
            <a:r>
              <a:rPr lang="en-US" dirty="0"/>
              <a:t>You can only change to another plan that has the same billing term and payment option. For more information, see </a:t>
            </a:r>
            <a:r>
              <a:rPr lang="en-US" b="1" dirty="0">
                <a:hlinkClick r:id="rId3"/>
              </a:rPr>
              <a:t>SaaS subscription lifecycle management</a:t>
            </a:r>
            <a:r>
              <a:rPr lang="en-US" dirty="0"/>
              <a:t>.</a:t>
            </a:r>
            <a:endParaRPr lang="en-US" dirty="0">
              <a:cs typeface="Calibri"/>
            </a:endParaRPr>
          </a:p>
          <a:p>
            <a:pPr marL="342900" lvl="1" indent="-342900">
              <a:buChar char="•"/>
            </a:pPr>
            <a:r>
              <a:rPr lang="en-US" dirty="0"/>
              <a:t>In cases where the pricing model is per user, you'll be required to specify the number of users. The price that you see will change based on the subscription, plan, term, and payment frequency that you've selected.</a:t>
            </a:r>
          </a:p>
          <a:p>
            <a:pPr marL="285750" indent="-285750">
              <a:buFont typeface="Arial"/>
              <a:buChar char="•"/>
            </a:pPr>
            <a:r>
              <a:rPr lang="en-US" dirty="0"/>
              <a:t>Proceed to the </a:t>
            </a:r>
            <a:r>
              <a:rPr lang="en-US" b="1" dirty="0"/>
              <a:t>Tags</a:t>
            </a:r>
            <a:r>
              <a:rPr lang="en-US" dirty="0"/>
              <a:t> tab. </a:t>
            </a:r>
            <a:r>
              <a:rPr lang="en-US" i="1" dirty="0"/>
              <a:t>Tags</a:t>
            </a:r>
            <a:r>
              <a:rPr lang="en-US" dirty="0"/>
              <a:t> are key/value pairs that you can define. You place tags directly on a resource or a resource group, which helps you find your SaaS resource later on. Azure currently supports up to 50 tags per resource and resource group. Place tags on a resource at the time of creation, or add them to an existing resource.</a:t>
            </a:r>
          </a:p>
          <a:p>
            <a:pPr marL="285750" indent="-285750">
              <a:buFont typeface="Arial"/>
              <a:buChar char="•"/>
            </a:pPr>
            <a:r>
              <a:rPr lang="en-US" dirty="0"/>
              <a:t>Continue to </a:t>
            </a:r>
            <a:r>
              <a:rPr lang="en-US" b="1" dirty="0"/>
              <a:t>Review + Subscribe</a:t>
            </a:r>
            <a:r>
              <a:rPr lang="en-US" dirty="0"/>
              <a:t> to go through the offer and plan details.</a:t>
            </a:r>
          </a:p>
          <a:p>
            <a:pPr marL="285750" lvl="1" indent="-285750">
              <a:buFont typeface="Arial"/>
              <a:buChar char="•"/>
            </a:pPr>
            <a:r>
              <a:rPr lang="en-US" dirty="0"/>
              <a:t>Review the terms of use, amendments, and privacy policy of the publisher, and also Azure Marketplace.</a:t>
            </a:r>
          </a:p>
          <a:p>
            <a:pPr marL="285750" lvl="1" indent="-285750">
              <a:buFont typeface="Arial"/>
              <a:buChar char="•"/>
            </a:pPr>
            <a:r>
              <a:rPr lang="en-US" dirty="0"/>
              <a:t>You might be asked to add your contact details.</a:t>
            </a:r>
          </a:p>
          <a:p>
            <a:pPr marL="285750" lvl="1" indent="-285750">
              <a:buFont typeface="Arial"/>
              <a:buChar char="•"/>
            </a:pPr>
            <a:r>
              <a:rPr lang="en-US" dirty="0"/>
              <a:t>Review details for </a:t>
            </a:r>
            <a:r>
              <a:rPr lang="en-US" b="1" dirty="0"/>
              <a:t>Basics</a:t>
            </a:r>
            <a:r>
              <a:rPr lang="en-US" dirty="0"/>
              <a:t> and </a:t>
            </a:r>
            <a:r>
              <a:rPr lang="en-US" b="1" dirty="0"/>
              <a:t>Tags</a:t>
            </a:r>
            <a:r>
              <a:rPr lang="en-US" dirty="0"/>
              <a:t>.</a:t>
            </a:r>
          </a:p>
          <a:p>
            <a:pPr marL="285750" indent="-285750">
              <a:buFont typeface="Arial"/>
              <a:buChar char="•"/>
            </a:pPr>
            <a:r>
              <a:rPr lang="en-US" dirty="0"/>
              <a:t>Upon confirmation, select </a:t>
            </a:r>
            <a:r>
              <a:rPr lang="en-US" b="1" dirty="0"/>
              <a:t>Subscribe</a:t>
            </a:r>
            <a:r>
              <a:rPr lang="en-US" dirty="0"/>
              <a:t>.</a:t>
            </a: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39</a:t>
            </a:fld>
            <a:endParaRPr lang="en-US"/>
          </a:p>
        </p:txBody>
      </p:sp>
    </p:spTree>
    <p:extLst>
      <p:ext uri="{BB962C8B-B14F-4D97-AF65-F5344CB8AC3E}">
        <p14:creationId xmlns:p14="http://schemas.microsoft.com/office/powerpoint/2010/main" val="13424637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000" b="1" i="0" dirty="0">
              <a:latin typeface="Segoe UI Light"/>
              <a:cs typeface="Segoe UI Light"/>
            </a:endParaRPr>
          </a:p>
          <a:p>
            <a:pPr>
              <a:defRPr/>
            </a:pPr>
            <a:r>
              <a:rPr lang="en-US" sz="1000" b="1" i="0" dirty="0">
                <a:latin typeface="Segoe UI Light"/>
                <a:cs typeface="Segoe UI Light"/>
              </a:rPr>
              <a:t>NOTE: </a:t>
            </a:r>
            <a:r>
              <a:rPr lang="en-US" sz="1000" i="0" dirty="0">
                <a:latin typeface="Segoe UI Light"/>
                <a:cs typeface="Segoe UI Light"/>
              </a:rPr>
              <a:t>Your start time may vary. Please fill in time zone for this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dirty="0">
              <a:latin typeface="Segoe UI Light" panose="020B0502040204020203" pitchFamily="34" charset="0"/>
              <a:cs typeface="Segoe UI Light" panose="020B0502040204020203" pitchFamily="34" charset="0"/>
            </a:endParaRPr>
          </a:p>
          <a:p>
            <a:pPr marL="0" marR="0" lvl="0" indent="0" algn="l" defTabSz="914400">
              <a:lnSpc>
                <a:spcPct val="100000"/>
              </a:lnSpc>
              <a:spcBef>
                <a:spcPts val="0"/>
              </a:spcBef>
              <a:spcAft>
                <a:spcPts val="0"/>
              </a:spcAft>
              <a:buClrTx/>
              <a:buSzTx/>
              <a:buFontTx/>
              <a:buNone/>
              <a:tabLst/>
              <a:defRPr/>
            </a:pPr>
            <a:r>
              <a:rPr lang="en-US" sz="1000" b="1" i="0" dirty="0">
                <a:latin typeface="Segoe UI Light"/>
                <a:cs typeface="Segoe UI Light"/>
              </a:rPr>
              <a:t>SAY:</a:t>
            </a:r>
            <a:endParaRPr lang="en-US" dirty="0">
              <a:latin typeface="Segoe UI Light"/>
              <a:cs typeface="Segoe UI Light"/>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dirty="0">
                <a:latin typeface="Segoe UI Light"/>
                <a:cs typeface="Segoe UI Light"/>
              </a:rPr>
              <a:t>Training is x hours long.</a:t>
            </a:r>
          </a:p>
          <a:p>
            <a:pPr marL="171450" indent="-171450">
              <a:buFont typeface="Wingdings" panose="05000000000000000000" pitchFamily="2" charset="2"/>
              <a:buChar char="§"/>
            </a:pPr>
            <a:r>
              <a:rPr lang="en-US" sz="1000" dirty="0">
                <a:latin typeface="Segoe UI Light"/>
                <a:cs typeface="Segoe UI Light"/>
              </a:rPr>
              <a:t>There are no scheduled breaks, take when needed. There is a 45-minute lunch.</a:t>
            </a:r>
          </a:p>
          <a:p>
            <a:pPr marL="171450" indent="-171450">
              <a:buFont typeface="Wingdings" panose="05000000000000000000" pitchFamily="2" charset="2"/>
              <a:buChar char="§"/>
            </a:pPr>
            <a:endParaRPr lang="en-US" sz="1000" dirty="0">
              <a:latin typeface="Segoe UI Light"/>
              <a:cs typeface="Segoe UI Light"/>
            </a:endParaRPr>
          </a:p>
          <a:p>
            <a:pPr marL="171450" indent="-171450">
              <a:buFont typeface="Wingdings" panose="05000000000000000000" pitchFamily="2" charset="2"/>
              <a:buChar char="§"/>
            </a:pPr>
            <a:r>
              <a:rPr lang="en-US" sz="1000" dirty="0">
                <a:latin typeface="Segoe UI Light"/>
                <a:cs typeface="Segoe UI Light"/>
              </a:rPr>
              <a:t>Head Coach will start the workshop in the General Channel and wrap up the workshop at the end of the day in the General Channel. </a:t>
            </a:r>
          </a:p>
          <a:p>
            <a:pPr marL="171450" indent="-171450">
              <a:buFont typeface="Wingdings" panose="05000000000000000000" pitchFamily="2" charset="2"/>
              <a:buChar char="§"/>
            </a:pPr>
            <a:r>
              <a:rPr lang="en-US" sz="1000" dirty="0">
                <a:latin typeface="Segoe UI Light"/>
                <a:cs typeface="Segoe UI Light"/>
              </a:rPr>
              <a:t>The rest of the day, the students will work in their individual TEAM Channels with you as the other coaches leading them through activities and monitoring the schedule.</a:t>
            </a:r>
          </a:p>
          <a:p>
            <a:pPr marL="171450" indent="-171450">
              <a:buFont typeface="Wingdings" panose="05000000000000000000" pitchFamily="2" charset="2"/>
              <a:buChar char="§"/>
            </a:pPr>
            <a:endParaRPr lang="en-US" sz="1000" dirty="0">
              <a:latin typeface="Segoe UI Light"/>
              <a:cs typeface="Segoe UI Light"/>
            </a:endParaRPr>
          </a:p>
          <a:p>
            <a:pPr marL="171450" indent="-171450">
              <a:buFont typeface="Wingdings" panose="05000000000000000000" pitchFamily="2" charset="2"/>
              <a:buChar char="§"/>
            </a:pPr>
            <a:r>
              <a:rPr lang="en-US" sz="1000" dirty="0">
                <a:latin typeface="Segoe UI Light"/>
                <a:cs typeface="Segoe UI Light"/>
              </a:rPr>
              <a:t>Coach should do a high-level walk-through of the agenda and what is happening at each of the lab modules.</a:t>
            </a:r>
          </a:p>
          <a:p>
            <a:pPr marL="457200" lvl="1" indent="0" algn="l">
              <a:buFont typeface="Wingdings" panose="05000000000000000000" pitchFamily="2" charset="2"/>
              <a:buNone/>
            </a:pPr>
            <a:endParaRPr lang="en-US" sz="1000" b="0" i="0" dirty="0">
              <a:solidFill>
                <a:srgbClr val="24292E"/>
              </a:solidFill>
              <a:effectLst/>
              <a:latin typeface="Segoe UI" panose="020B0502040204020203" pitchFamily="34" charset="0"/>
              <a:cs typeface="Segoe UI" panose="020B0502040204020203" pitchFamily="34" charset="0"/>
            </a:endParaRPr>
          </a:p>
          <a:p>
            <a:endParaRPr lang="en-US" sz="1000" i="1"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3501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8</a:t>
            </a:fld>
            <a:endParaRPr lang="en-US"/>
          </a:p>
        </p:txBody>
      </p:sp>
    </p:spTree>
    <p:extLst>
      <p:ext uri="{BB962C8B-B14F-4D97-AF65-F5344CB8AC3E}">
        <p14:creationId xmlns:p14="http://schemas.microsoft.com/office/powerpoint/2010/main" val="35311086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9</a:t>
            </a:fld>
            <a:endParaRPr lang="en-US"/>
          </a:p>
        </p:txBody>
      </p:sp>
    </p:spTree>
    <p:extLst>
      <p:ext uri="{BB962C8B-B14F-4D97-AF65-F5344CB8AC3E}">
        <p14:creationId xmlns:p14="http://schemas.microsoft.com/office/powerpoint/2010/main" val="2374750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0</a:t>
            </a:fld>
            <a:endParaRPr lang="en-US"/>
          </a:p>
        </p:txBody>
      </p:sp>
    </p:spTree>
    <p:extLst>
      <p:ext uri="{BB962C8B-B14F-4D97-AF65-F5344CB8AC3E}">
        <p14:creationId xmlns:p14="http://schemas.microsoft.com/office/powerpoint/2010/main" val="4147027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7</a:t>
            </a:fld>
            <a:endParaRPr lang="en-US"/>
          </a:p>
        </p:txBody>
      </p:sp>
    </p:spTree>
    <p:extLst>
      <p:ext uri="{BB962C8B-B14F-4D97-AF65-F5344CB8AC3E}">
        <p14:creationId xmlns:p14="http://schemas.microsoft.com/office/powerpoint/2010/main" val="2251154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502212"/>
            <a:ext cx="4167887" cy="2031325"/>
          </a:xfrm>
        </p:spPr>
        <p:txBody>
          <a:bodyPr anchor="b" anchorCtr="0">
            <a:spAutoFit/>
          </a:bodyPr>
          <a:lstStyle>
            <a:lvl1pPr>
              <a:defRPr sz="4400"/>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46999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607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41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973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343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0135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464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845824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11880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BCAC9-E25C-4A29-A7D2-82C7DE406CE6}"/>
              </a:ext>
            </a:extLst>
          </p:cNvPr>
          <p:cNvSpPr>
            <a:spLocks noGrp="1"/>
          </p:cNvSpPr>
          <p:nvPr userDrawn="1">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552525" y="6444913"/>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99937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pic>
        <p:nvPicPr>
          <p:cNvPr id="5" name="Picture 4" descr="Microsoft Azure logo">
            <a:extLst>
              <a:ext uri="{FF2B5EF4-FFF2-40B4-BE49-F238E27FC236}">
                <a16:creationId xmlns:a16="http://schemas.microsoft.com/office/drawing/2014/main" id="{477BD162-8300-4F28-8023-6DD1BF73E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4201" y="578571"/>
            <a:ext cx="1892300" cy="269574"/>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4" name="Text Placeholder 10">
            <a:extLst>
              <a:ext uri="{FF2B5EF4-FFF2-40B4-BE49-F238E27FC236}">
                <a16:creationId xmlns:a16="http://schemas.microsoft.com/office/drawing/2014/main" id="{E7F188F7-5D69-4A37-B62E-1322D2E033E4}"/>
              </a:ext>
            </a:extLst>
          </p:cNvPr>
          <p:cNvSpPr>
            <a:spLocks noGrp="1"/>
          </p:cNvSpPr>
          <p:nvPr>
            <p:ph type="body" sz="quarter" idx="15" hasCustomPrompt="1"/>
          </p:nvPr>
        </p:nvSpPr>
        <p:spPr>
          <a:xfrm>
            <a:off x="584200" y="4426314"/>
            <a:ext cx="4945744" cy="553998"/>
          </a:xfrm>
          <a:prstGeom prst="rect">
            <a:avLst/>
          </a:prstGeom>
        </p:spPr>
        <p:txBody>
          <a:bodyPr/>
          <a:lstStyle>
            <a:lvl1pPr marL="0" indent="0" algn="l">
              <a:buNone/>
              <a:defRPr sz="1800">
                <a:solidFill>
                  <a:schemeClr val="tx1"/>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09981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04639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B02BF2A-7BE7-4F1F-819E-97933FE2DD80}"/>
              </a:ext>
              <a:ext uri="{C183D7F6-B498-43B3-948B-1728B52AA6E4}">
                <adec:decorative xmlns:adec="http://schemas.microsoft.com/office/drawing/2017/decorative" val="1"/>
              </a:ext>
            </a:extLst>
          </p:cNvPr>
          <p:cNvGrpSpPr/>
          <p:nvPr userDrawn="1"/>
        </p:nvGrpSpPr>
        <p:grpSpPr>
          <a:xfrm>
            <a:off x="-1" y="0"/>
            <a:ext cx="12190271" cy="5483600"/>
            <a:chOff x="-1" y="0"/>
            <a:chExt cx="12434711" cy="5592764"/>
          </a:xfrm>
        </p:grpSpPr>
        <p:pic>
          <p:nvPicPr>
            <p:cNvPr id="8" name="Picture 7" descr="A nurse writing&#10;">
              <a:extLst>
                <a:ext uri="{FF2B5EF4-FFF2-40B4-BE49-F238E27FC236}">
                  <a16:creationId xmlns:a16="http://schemas.microsoft.com/office/drawing/2014/main" id="{5CB044E4-A9A6-4A1B-A5D4-607833EBE3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4710" cy="5592763"/>
            </a:xfrm>
            <a:custGeom>
              <a:avLst/>
              <a:gdLst>
                <a:gd name="connsiteX0" fmla="*/ 0 w 12434710"/>
                <a:gd name="connsiteY0" fmla="*/ 0 h 5592763"/>
                <a:gd name="connsiteX1" fmla="*/ 12434710 w 12434710"/>
                <a:gd name="connsiteY1" fmla="*/ 0 h 5592763"/>
                <a:gd name="connsiteX2" fmla="*/ 12434710 w 12434710"/>
                <a:gd name="connsiteY2" fmla="*/ 5592763 h 5592763"/>
                <a:gd name="connsiteX3" fmla="*/ 0 w 12434710"/>
                <a:gd name="connsiteY3" fmla="*/ 5592763 h 5592763"/>
              </a:gdLst>
              <a:ahLst/>
              <a:cxnLst>
                <a:cxn ang="0">
                  <a:pos x="connsiteX0" y="connsiteY0"/>
                </a:cxn>
                <a:cxn ang="0">
                  <a:pos x="connsiteX1" y="connsiteY1"/>
                </a:cxn>
                <a:cxn ang="0">
                  <a:pos x="connsiteX2" y="connsiteY2"/>
                </a:cxn>
                <a:cxn ang="0">
                  <a:pos x="connsiteX3" y="connsiteY3"/>
                </a:cxn>
              </a:cxnLst>
              <a:rect l="l" t="t" r="r" b="b"/>
              <a:pathLst>
                <a:path w="12434710" h="5592763">
                  <a:moveTo>
                    <a:pt x="0" y="0"/>
                  </a:moveTo>
                  <a:lnTo>
                    <a:pt x="12434710" y="0"/>
                  </a:lnTo>
                  <a:lnTo>
                    <a:pt x="12434710" y="5592763"/>
                  </a:lnTo>
                  <a:lnTo>
                    <a:pt x="0" y="5592763"/>
                  </a:lnTo>
                  <a:close/>
                </a:path>
              </a:pathLst>
            </a:custGeom>
          </p:spPr>
        </p:pic>
        <p:sp>
          <p:nvSpPr>
            <p:cNvPr id="5" name="Rectangle 4">
              <a:extLst>
                <a:ext uri="{FF2B5EF4-FFF2-40B4-BE49-F238E27FC236}">
                  <a16:creationId xmlns:a16="http://schemas.microsoft.com/office/drawing/2014/main" id="{3BFC33DA-54D0-4F30-A2E6-C0BB69A6326B}"/>
                </a:ext>
                <a:ext uri="{C183D7F6-B498-43B3-948B-1728B52AA6E4}">
                  <adec:decorative xmlns:adec="http://schemas.microsoft.com/office/drawing/2017/decorative" val="1"/>
                </a:ext>
              </a:extLst>
            </p:cNvPr>
            <p:cNvSpPr/>
            <p:nvPr/>
          </p:nvSpPr>
          <p:spPr bwMode="auto">
            <a:xfrm>
              <a:off x="-1" y="0"/>
              <a:ext cx="12434711" cy="5592763"/>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195708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92443"/>
          </a:xfrm>
        </p:spPr>
        <p:txBody>
          <a:bodyPr/>
          <a:lstStyle>
            <a:lvl1pPr>
              <a:defRPr sz="3200"/>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006575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14FBC88-F688-4EB6-B02D-897DE2A2B589}"/>
              </a:ext>
            </a:extLst>
          </p:cNvPr>
          <p:cNvSpPr>
            <a:spLocks noGrp="1"/>
          </p:cNvSpPr>
          <p:nvPr>
            <p:ph type="dt" sz="half" idx="10"/>
          </p:nvPr>
        </p:nvSpPr>
        <p:spPr/>
        <p:txBody>
          <a:bodyPr/>
          <a:lstStyle/>
          <a:p>
            <a:fld id="{5B804146-93B5-4C8A-9A4F-B58F5551F951}" type="datetimeFigureOut">
              <a:rPr lang="en-US" smtClean="0"/>
              <a:t>9/12/2023</a:t>
            </a:fld>
            <a:endParaRPr lang="en-US"/>
          </a:p>
        </p:txBody>
      </p:sp>
      <p:sp>
        <p:nvSpPr>
          <p:cNvPr id="8" name="Footer Placeholder 7">
            <a:extLst>
              <a:ext uri="{FF2B5EF4-FFF2-40B4-BE49-F238E27FC236}">
                <a16:creationId xmlns:a16="http://schemas.microsoft.com/office/drawing/2014/main" id="{B2E9FE02-3965-4F3E-87B9-6A32EC45A5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48123E-4E36-44E6-B303-B2B98CC77D11}"/>
              </a:ext>
            </a:extLst>
          </p:cNvPr>
          <p:cNvSpPr>
            <a:spLocks noGrp="1"/>
          </p:cNvSpPr>
          <p:nvPr>
            <p:ph type="sldNum" sz="quarter" idx="12"/>
          </p:nvPr>
        </p:nvSpPr>
        <p:spPr/>
        <p:txBody>
          <a:bodyPr/>
          <a:lstStyle/>
          <a:p>
            <a:fld id="{8304A312-4756-49C6-821E-E3DCD0F6FD9D}" type="slidenum">
              <a:rPr lang="en-US" smtClean="0"/>
              <a:t>‹#›</a:t>
            </a:fld>
            <a:endParaRPr lang="en-US"/>
          </a:p>
        </p:txBody>
      </p:sp>
    </p:spTree>
    <p:extLst>
      <p:ext uri="{BB962C8B-B14F-4D97-AF65-F5344CB8AC3E}">
        <p14:creationId xmlns:p14="http://schemas.microsoft.com/office/powerpoint/2010/main" val="29270913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0072005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5004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24439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155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50328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0573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583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17642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5"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0042719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hyperlink" Target="https://azuremarketplace.microsoft.com/"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1.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1.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8D485-FD33-2DA7-238E-EDF73027901B}"/>
              </a:ext>
            </a:extLst>
          </p:cNvPr>
          <p:cNvSpPr>
            <a:spLocks noGrp="1"/>
          </p:cNvSpPr>
          <p:nvPr>
            <p:ph type="title"/>
          </p:nvPr>
        </p:nvSpPr>
        <p:spPr>
          <a:xfrm>
            <a:off x="588263" y="1502212"/>
            <a:ext cx="4167887" cy="2031325"/>
          </a:xfrm>
        </p:spPr>
        <p:txBody>
          <a:bodyPr wrap="square" anchor="b">
            <a:normAutofit/>
          </a:bodyPr>
          <a:lstStyle/>
          <a:p>
            <a:pPr>
              <a:lnSpc>
                <a:spcPct val="90000"/>
              </a:lnSpc>
            </a:pPr>
            <a:r>
              <a:rPr lang="en-US" sz="3700" dirty="0">
                <a:cs typeface="Segoe UI"/>
              </a:rPr>
              <a:t>Microsoft Azure Marketplace</a:t>
            </a:r>
            <a:endParaRPr lang="en-US" sz="3700" dirty="0"/>
          </a:p>
        </p:txBody>
      </p:sp>
      <p:sp>
        <p:nvSpPr>
          <p:cNvPr id="3" name="Text Placeholder 2">
            <a:extLst>
              <a:ext uri="{FF2B5EF4-FFF2-40B4-BE49-F238E27FC236}">
                <a16:creationId xmlns:a16="http://schemas.microsoft.com/office/drawing/2014/main" id="{33B3B159-A982-E03B-7830-66591F295CD8}"/>
              </a:ext>
            </a:extLst>
          </p:cNvPr>
          <p:cNvSpPr>
            <a:spLocks noGrp="1"/>
          </p:cNvSpPr>
          <p:nvPr>
            <p:ph type="body" sz="quarter" idx="12"/>
          </p:nvPr>
        </p:nvSpPr>
        <p:spPr>
          <a:xfrm>
            <a:off x="582042" y="3962400"/>
            <a:ext cx="4164583" cy="338554"/>
          </a:xfrm>
        </p:spPr>
        <p:txBody>
          <a:bodyPr wrap="square">
            <a:normAutofit/>
          </a:bodyPr>
          <a:lstStyle/>
          <a:p>
            <a:pPr>
              <a:spcAft>
                <a:spcPts val="600"/>
              </a:spcAft>
            </a:pPr>
            <a:r>
              <a:rPr lang="en-US" dirty="0"/>
              <a:t>Microsoft Skilling</a:t>
            </a:r>
          </a:p>
        </p:txBody>
      </p:sp>
    </p:spTree>
    <p:extLst>
      <p:ext uri="{BB962C8B-B14F-4D97-AF65-F5344CB8AC3E}">
        <p14:creationId xmlns:p14="http://schemas.microsoft.com/office/powerpoint/2010/main" val="1929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AppSource vs. Azure Marketplace</a:t>
            </a:r>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2"/>
          </p:nvPr>
        </p:nvSpPr>
        <p:spPr>
          <a:xfrm>
            <a:off x="584200" y="1435100"/>
            <a:ext cx="5211763" cy="4833938"/>
          </a:xfrm>
        </p:spPr>
        <p:txBody>
          <a:bodyPr vert="horz" wrap="square" lIns="0" tIns="0" rIns="0" bIns="0" rtlCol="0">
            <a:normAutofit/>
          </a:bodyPr>
          <a:lstStyle/>
          <a:p>
            <a:r>
              <a:rPr lang="en-US"/>
              <a:t>Azure Marketplace is specific to Azure</a:t>
            </a:r>
          </a:p>
          <a:p>
            <a:r>
              <a:rPr lang="en-US"/>
              <a:t>Microsoft AppSource is for:</a:t>
            </a:r>
          </a:p>
          <a:p>
            <a:pPr lvl="1"/>
            <a:r>
              <a:rPr lang="en-US" sz="2800"/>
              <a:t>Azure</a:t>
            </a:r>
          </a:p>
          <a:p>
            <a:pPr lvl="1"/>
            <a:r>
              <a:rPr lang="en-US" sz="2800"/>
              <a:t>M365</a:t>
            </a:r>
          </a:p>
          <a:p>
            <a:pPr lvl="1"/>
            <a:r>
              <a:rPr lang="en-US" sz="2800"/>
              <a:t>Microsoft Dynamics 365</a:t>
            </a:r>
          </a:p>
          <a:p>
            <a:pPr lvl="1"/>
            <a:r>
              <a:rPr lang="en-US" sz="2800"/>
              <a:t>Microsoft Power BI</a:t>
            </a:r>
          </a:p>
        </p:txBody>
      </p:sp>
      <p:pic>
        <p:nvPicPr>
          <p:cNvPr id="4" name="Picture 3" descr="A diagram of a company&amp;#39;s company&#10;&#10;Description automatically generated">
            <a:extLst>
              <a:ext uri="{FF2B5EF4-FFF2-40B4-BE49-F238E27FC236}">
                <a16:creationId xmlns:a16="http://schemas.microsoft.com/office/drawing/2014/main" id="{D255A024-B4AB-FD84-D159-4DDF08A8F07D}"/>
              </a:ext>
            </a:extLst>
          </p:cNvPr>
          <p:cNvPicPr>
            <a:picLocks noChangeAspect="1"/>
          </p:cNvPicPr>
          <p:nvPr/>
        </p:nvPicPr>
        <p:blipFill>
          <a:blip r:embed="rId3"/>
          <a:stretch>
            <a:fillRect/>
          </a:stretch>
        </p:blipFill>
        <p:spPr>
          <a:xfrm>
            <a:off x="6389688" y="2901600"/>
            <a:ext cx="5219700" cy="1900937"/>
          </a:xfrm>
          <a:prstGeom prst="rect">
            <a:avLst/>
          </a:prstGeom>
          <a:noFill/>
        </p:spPr>
      </p:pic>
    </p:spTree>
    <p:extLst>
      <p:ext uri="{BB962C8B-B14F-4D97-AF65-F5344CB8AC3E}">
        <p14:creationId xmlns:p14="http://schemas.microsoft.com/office/powerpoint/2010/main" val="365072369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3887C-60C2-A9BC-7D57-446E94505E95}"/>
              </a:ext>
            </a:extLst>
          </p:cNvPr>
          <p:cNvSpPr>
            <a:spLocks noGrp="1"/>
          </p:cNvSpPr>
          <p:nvPr>
            <p:ph type="title"/>
          </p:nvPr>
        </p:nvSpPr>
        <p:spPr/>
        <p:txBody>
          <a:bodyPr/>
          <a:lstStyle/>
          <a:p>
            <a:r>
              <a:rPr lang="en-US">
                <a:cs typeface="Segoe UI"/>
              </a:rPr>
              <a:t>Azure Marketplace online store</a:t>
            </a:r>
            <a:endParaRPr lang="en-US"/>
          </a:p>
        </p:txBody>
      </p:sp>
      <p:sp>
        <p:nvSpPr>
          <p:cNvPr id="3" name="Content Placeholder 2">
            <a:extLst>
              <a:ext uri="{FF2B5EF4-FFF2-40B4-BE49-F238E27FC236}">
                <a16:creationId xmlns:a16="http://schemas.microsoft.com/office/drawing/2014/main" id="{24D5E07E-8C99-3236-E329-322D38F9456F}"/>
              </a:ext>
            </a:extLst>
          </p:cNvPr>
          <p:cNvSpPr>
            <a:spLocks noGrp="1"/>
          </p:cNvSpPr>
          <p:nvPr>
            <p:ph sz="quarter" idx="10"/>
          </p:nvPr>
        </p:nvSpPr>
        <p:spPr>
          <a:xfrm>
            <a:off x="584200" y="1435100"/>
            <a:ext cx="11018838" cy="3754874"/>
          </a:xfrm>
        </p:spPr>
        <p:txBody>
          <a:bodyPr vert="horz" wrap="square" lIns="0" tIns="0" rIns="0" bIns="0" rtlCol="0" anchor="t">
            <a:spAutoFit/>
          </a:bodyPr>
          <a:lstStyle/>
          <a:p>
            <a:r>
              <a:rPr lang="en-US" dirty="0">
                <a:cs typeface="Segoe UI"/>
              </a:rPr>
              <a:t>Apps</a:t>
            </a:r>
            <a:endParaRPr lang="en-US" dirty="0"/>
          </a:p>
          <a:p>
            <a:r>
              <a:rPr lang="en-US" dirty="0">
                <a:cs typeface="Segoe UI"/>
              </a:rPr>
              <a:t>Consulting Services</a:t>
            </a:r>
            <a:endParaRPr lang="en-US" dirty="0"/>
          </a:p>
          <a:p>
            <a:r>
              <a:rPr lang="en-US" dirty="0">
                <a:cs typeface="Segoe UI"/>
              </a:rPr>
              <a:t>Featured solutions</a:t>
            </a:r>
            <a:endParaRPr lang="en-US" dirty="0"/>
          </a:p>
          <a:p>
            <a:r>
              <a:rPr lang="en-US" dirty="0">
                <a:cs typeface="Segoe UI"/>
              </a:rPr>
              <a:t>Accessible through marketplace link:</a:t>
            </a:r>
            <a:endParaRPr lang="en-US" dirty="0"/>
          </a:p>
          <a:p>
            <a:pPr lvl="1"/>
            <a:r>
              <a:rPr lang="en-US" dirty="0">
                <a:ea typeface="+mn-lt"/>
                <a:cs typeface="+mn-lt"/>
                <a:hlinkClick r:id="rId2"/>
              </a:rPr>
              <a:t>https://azuremarketplace.microsoft.com/</a:t>
            </a:r>
            <a:endParaRPr lang="en-US">
              <a:ea typeface="+mn-lt"/>
              <a:cs typeface="+mn-lt"/>
            </a:endParaRPr>
          </a:p>
          <a:p>
            <a:r>
              <a:rPr lang="en-US" dirty="0">
                <a:cs typeface="Segoe UI"/>
              </a:rPr>
              <a:t>Accessible through Azure portal link:</a:t>
            </a:r>
          </a:p>
          <a:p>
            <a:pPr lvl="1"/>
            <a:r>
              <a:rPr lang="en-US" dirty="0">
                <a:cs typeface="Segoe UI"/>
                <a:hlinkClick r:id="rId3"/>
              </a:rPr>
              <a:t>https://portal.azure.com</a:t>
            </a:r>
            <a:endParaRPr lang="en-US" dirty="0">
              <a:cs typeface="Segoe UI"/>
            </a:endParaRPr>
          </a:p>
          <a:p>
            <a:r>
              <a:rPr lang="en-US" dirty="0">
                <a:cs typeface="Segoe UI"/>
              </a:rPr>
              <a:t>Browse, Search, or Filter to find apps or consulting services</a:t>
            </a:r>
          </a:p>
        </p:txBody>
      </p:sp>
    </p:spTree>
    <p:extLst>
      <p:ext uri="{BB962C8B-B14F-4D97-AF65-F5344CB8AC3E}">
        <p14:creationId xmlns:p14="http://schemas.microsoft.com/office/powerpoint/2010/main" val="6946222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Free Apps on Windows</a:t>
            </a:r>
          </a:p>
        </p:txBody>
      </p:sp>
      <p:graphicFrame>
        <p:nvGraphicFramePr>
          <p:cNvPr id="5" name="Content Placeholder 2">
            <a:extLst>
              <a:ext uri="{FF2B5EF4-FFF2-40B4-BE49-F238E27FC236}">
                <a16:creationId xmlns:a16="http://schemas.microsoft.com/office/drawing/2014/main" id="{F1C54563-A4E7-4C95-AE2A-C0580B3CA81E}"/>
              </a:ext>
            </a:extLst>
          </p:cNvPr>
          <p:cNvGraphicFramePr>
            <a:graphicFrameLocks noGrp="1"/>
          </p:cNvGraphicFramePr>
          <p:nvPr>
            <p:ph sz="quarter" idx="10"/>
            <p:extLst>
              <p:ext uri="{D42A27DB-BD31-4B8C-83A1-F6EECF244321}">
                <p14:modId xmlns:p14="http://schemas.microsoft.com/office/powerpoint/2010/main" val="4214163797"/>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759092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Apps on Windows</a:t>
            </a:r>
            <a:endParaRPr lang="en-US" dirty="0"/>
          </a:p>
        </p:txBody>
      </p:sp>
      <p:graphicFrame>
        <p:nvGraphicFramePr>
          <p:cNvPr id="5" name="Content Placeholder 2">
            <a:extLst>
              <a:ext uri="{FF2B5EF4-FFF2-40B4-BE49-F238E27FC236}">
                <a16:creationId xmlns:a16="http://schemas.microsoft.com/office/drawing/2014/main" id="{B7A53284-6647-FE5D-20C3-715E935142A9}"/>
              </a:ext>
            </a:extLst>
          </p:cNvPr>
          <p:cNvGraphicFramePr>
            <a:graphicFrameLocks noGrp="1"/>
          </p:cNvGraphicFramePr>
          <p:nvPr>
            <p:ph sz="quarter" idx="10"/>
            <p:extLst>
              <p:ext uri="{D42A27DB-BD31-4B8C-83A1-F6EECF244321}">
                <p14:modId xmlns:p14="http://schemas.microsoft.com/office/powerpoint/2010/main" val="166603342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1650218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Free Consulting Services</a:t>
            </a:r>
          </a:p>
        </p:txBody>
      </p:sp>
      <p:graphicFrame>
        <p:nvGraphicFramePr>
          <p:cNvPr id="5" name="Content Placeholder 2">
            <a:extLst>
              <a:ext uri="{FF2B5EF4-FFF2-40B4-BE49-F238E27FC236}">
                <a16:creationId xmlns:a16="http://schemas.microsoft.com/office/drawing/2014/main" id="{F0FC495E-D653-EBE3-078E-A8B68A55A8FA}"/>
              </a:ext>
            </a:extLst>
          </p:cNvPr>
          <p:cNvGraphicFramePr>
            <a:graphicFrameLocks noGrp="1"/>
          </p:cNvGraphicFramePr>
          <p:nvPr>
            <p:ph sz="quarter" idx="10"/>
            <p:extLst>
              <p:ext uri="{D42A27DB-BD31-4B8C-83A1-F6EECF244321}">
                <p14:modId xmlns:p14="http://schemas.microsoft.com/office/powerpoint/2010/main" val="308286373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1448418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Consulting Services</a:t>
            </a:r>
            <a:endParaRPr lang="en-US" dirty="0"/>
          </a:p>
        </p:txBody>
      </p:sp>
      <p:graphicFrame>
        <p:nvGraphicFramePr>
          <p:cNvPr id="7" name="Content Placeholder 2">
            <a:extLst>
              <a:ext uri="{FF2B5EF4-FFF2-40B4-BE49-F238E27FC236}">
                <a16:creationId xmlns:a16="http://schemas.microsoft.com/office/drawing/2014/main" id="{6FB2ABBF-1AE7-AF32-9A14-05415C0B9088}"/>
              </a:ext>
            </a:extLst>
          </p:cNvPr>
          <p:cNvGraphicFramePr/>
          <p:nvPr>
            <p:extLst>
              <p:ext uri="{D42A27DB-BD31-4B8C-83A1-F6EECF244321}">
                <p14:modId xmlns:p14="http://schemas.microsoft.com/office/powerpoint/2010/main" val="163178741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362233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1C2FB-1BCB-1AC0-8E24-2129DA75AB20}"/>
              </a:ext>
            </a:extLst>
          </p:cNvPr>
          <p:cNvSpPr>
            <a:spLocks noGrp="1"/>
          </p:cNvSpPr>
          <p:nvPr>
            <p:ph type="title"/>
          </p:nvPr>
        </p:nvSpPr>
        <p:spPr>
          <a:xfrm>
            <a:off x="585216" y="2930402"/>
            <a:ext cx="9144000" cy="997196"/>
          </a:xfrm>
        </p:spPr>
        <p:txBody>
          <a:bodyPr/>
          <a:lstStyle/>
          <a:p>
            <a:r>
              <a:rPr lang="en-US">
                <a:cs typeface="Segoe UI"/>
              </a:rPr>
              <a:t>Creating Offers and Purchasing</a:t>
            </a:r>
            <a:r>
              <a:rPr lang="en-US" dirty="0">
                <a:cs typeface="Segoe UI"/>
              </a:rPr>
              <a:t> in Marketplace</a:t>
            </a:r>
          </a:p>
        </p:txBody>
      </p:sp>
    </p:spTree>
    <p:extLst>
      <p:ext uri="{BB962C8B-B14F-4D97-AF65-F5344CB8AC3E}">
        <p14:creationId xmlns:p14="http://schemas.microsoft.com/office/powerpoint/2010/main" val="82372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How does purchasing work in Azure Marketplace?</a:t>
            </a:r>
          </a:p>
        </p:txBody>
      </p:sp>
      <p:graphicFrame>
        <p:nvGraphicFramePr>
          <p:cNvPr id="5" name="Content Placeholder 2">
            <a:extLst>
              <a:ext uri="{FF2B5EF4-FFF2-40B4-BE49-F238E27FC236}">
                <a16:creationId xmlns:a16="http://schemas.microsoft.com/office/drawing/2014/main" id="{10573158-EC09-2CD0-C66A-15179B89CFF1}"/>
              </a:ext>
            </a:extLst>
          </p:cNvPr>
          <p:cNvGraphicFramePr>
            <a:graphicFrameLocks noGrp="1"/>
          </p:cNvGraphicFramePr>
          <p:nvPr>
            <p:ph sz="quarter" idx="10"/>
            <p:extLst>
              <p:ext uri="{D42A27DB-BD31-4B8C-83A1-F6EECF244321}">
                <p14:modId xmlns:p14="http://schemas.microsoft.com/office/powerpoint/2010/main" val="3446208658"/>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051479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BF3AE4B-3EA7-75FF-18D7-548B95D8E1BA}"/>
              </a:ext>
            </a:extLst>
          </p:cNvPr>
          <p:cNvSpPr>
            <a:spLocks noGrp="1"/>
          </p:cNvSpPr>
          <p:nvPr>
            <p:ph type="title"/>
          </p:nvPr>
        </p:nvSpPr>
        <p:spPr>
          <a:xfrm>
            <a:off x="588263" y="457200"/>
            <a:ext cx="11018520" cy="553998"/>
          </a:xfrm>
        </p:spPr>
        <p:txBody>
          <a:bodyPr/>
          <a:lstStyle/>
          <a:p>
            <a:r>
              <a:rPr lang="en-US">
                <a:cs typeface="Segoe UI"/>
              </a:rPr>
              <a:t>Marketplace Rewards</a:t>
            </a:r>
            <a:endParaRPr lang="en-US"/>
          </a:p>
        </p:txBody>
      </p:sp>
      <p:sp>
        <p:nvSpPr>
          <p:cNvPr id="11" name="Content Placeholder 2">
            <a:extLst>
              <a:ext uri="{FF2B5EF4-FFF2-40B4-BE49-F238E27FC236}">
                <a16:creationId xmlns:a16="http://schemas.microsoft.com/office/drawing/2014/main" id="{3B24F147-897F-D0FA-7F06-E54B8BFE774E}"/>
              </a:ext>
            </a:extLst>
          </p:cNvPr>
          <p:cNvSpPr>
            <a:spLocks noGrp="1"/>
          </p:cNvSpPr>
          <p:nvPr>
            <p:ph sz="quarter" idx="12"/>
          </p:nvPr>
        </p:nvSpPr>
        <p:spPr>
          <a:xfrm>
            <a:off x="584200" y="1435100"/>
            <a:ext cx="4551363" cy="2609945"/>
          </a:xfrm>
        </p:spPr>
        <p:txBody>
          <a:bodyPr vert="horz" wrap="square" lIns="0" tIns="0" rIns="0" bIns="0" rtlCol="0" anchor="t">
            <a:spAutoFit/>
          </a:bodyPr>
          <a:lstStyle/>
          <a:p>
            <a:r>
              <a:rPr lang="en-US" dirty="0">
                <a:cs typeface="Segoe UI"/>
              </a:rPr>
              <a:t>Published offers receive different tiers of support based on the transaction type.</a:t>
            </a:r>
            <a:endParaRPr lang="en-US" dirty="0"/>
          </a:p>
          <a:p>
            <a:endParaRPr lang="en-US" dirty="0"/>
          </a:p>
          <a:p>
            <a:pPr lvl="1"/>
            <a:r>
              <a:rPr lang="en-US" dirty="0">
                <a:ea typeface="+mn-lt"/>
                <a:cs typeface="+mn-lt"/>
              </a:rPr>
              <a:t>https://aka.ms/joinmarketplace</a:t>
            </a:r>
            <a:endParaRPr lang="en-US"/>
          </a:p>
        </p:txBody>
      </p:sp>
      <p:pic>
        <p:nvPicPr>
          <p:cNvPr id="4" name="Content Placeholder 3" descr="A chart of customer experience results&#10;&#10;Description automatically generated">
            <a:extLst>
              <a:ext uri="{FF2B5EF4-FFF2-40B4-BE49-F238E27FC236}">
                <a16:creationId xmlns:a16="http://schemas.microsoft.com/office/drawing/2014/main" id="{DCF172A3-9D30-C3A8-50DE-0495D0872A8B}"/>
              </a:ext>
            </a:extLst>
          </p:cNvPr>
          <p:cNvPicPr>
            <a:picLocks noGrp="1" noChangeAspect="1"/>
          </p:cNvPicPr>
          <p:nvPr>
            <p:ph sz="quarter" idx="13"/>
          </p:nvPr>
        </p:nvPicPr>
        <p:blipFill>
          <a:blip r:embed="rId2"/>
          <a:stretch>
            <a:fillRect/>
          </a:stretch>
        </p:blipFill>
        <p:spPr>
          <a:xfrm>
            <a:off x="5187422" y="1935296"/>
            <a:ext cx="6481232" cy="3638813"/>
          </a:xfrm>
          <a:noFill/>
        </p:spPr>
      </p:pic>
    </p:spTree>
    <p:extLst>
      <p:ext uri="{BB962C8B-B14F-4D97-AF65-F5344CB8AC3E}">
        <p14:creationId xmlns:p14="http://schemas.microsoft.com/office/powerpoint/2010/main" val="156818010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cs typeface="Segoe UI"/>
              </a:rPr>
              <a:t>Listing Options</a:t>
            </a:r>
            <a:endParaRPr lang="en-US"/>
          </a:p>
        </p:txBody>
      </p:sp>
      <p:sp>
        <p:nvSpPr>
          <p:cNvPr id="9" name="Content Placeholder 2">
            <a:extLst>
              <a:ext uri="{FF2B5EF4-FFF2-40B4-BE49-F238E27FC236}">
                <a16:creationId xmlns:a16="http://schemas.microsoft.com/office/drawing/2014/main" id="{7239C8F0-B9DF-87A5-21C6-7F2244DB4517}"/>
              </a:ext>
            </a:extLst>
          </p:cNvPr>
          <p:cNvSpPr>
            <a:spLocks noGrp="1"/>
          </p:cNvSpPr>
          <p:nvPr>
            <p:ph sz="quarter" idx="12"/>
          </p:nvPr>
        </p:nvSpPr>
        <p:spPr>
          <a:xfrm>
            <a:off x="584200" y="1435100"/>
            <a:ext cx="5211763" cy="1982081"/>
          </a:xfrm>
        </p:spPr>
        <p:txBody>
          <a:bodyPr vert="horz" wrap="square" lIns="0" tIns="0" rIns="0" bIns="0" rtlCol="0" anchor="t">
            <a:spAutoFit/>
          </a:bodyPr>
          <a:lstStyle/>
          <a:p>
            <a:r>
              <a:rPr lang="en-US" dirty="0">
                <a:cs typeface="Segoe UI"/>
              </a:rPr>
              <a:t>Online stores</a:t>
            </a:r>
            <a:endParaRPr lang="en-US" dirty="0"/>
          </a:p>
          <a:p>
            <a:r>
              <a:rPr lang="en-US" dirty="0">
                <a:cs typeface="Segoe UI"/>
              </a:rPr>
              <a:t>Within Microsoft Products</a:t>
            </a:r>
          </a:p>
          <a:p>
            <a:r>
              <a:rPr lang="en-US" dirty="0">
                <a:cs typeface="Segoe UI"/>
              </a:rPr>
              <a:t>Through CSP partners</a:t>
            </a:r>
            <a:endParaRPr lang="en-US" dirty="0"/>
          </a:p>
          <a:p>
            <a:r>
              <a:rPr lang="en-US" dirty="0">
                <a:cs typeface="Segoe UI"/>
              </a:rPr>
              <a:t>Microsoft sales through co-sell</a:t>
            </a:r>
            <a:endParaRPr lang="en-US" dirty="0"/>
          </a:p>
        </p:txBody>
      </p:sp>
      <p:pic>
        <p:nvPicPr>
          <p:cNvPr id="4" name="Content Placeholder 3" descr="A diagram of a company&#10;&#10;Description automatically generated">
            <a:extLst>
              <a:ext uri="{FF2B5EF4-FFF2-40B4-BE49-F238E27FC236}">
                <a16:creationId xmlns:a16="http://schemas.microsoft.com/office/drawing/2014/main" id="{5AF45389-AE37-8E5F-A9DE-5C05DCB87D6A}"/>
              </a:ext>
            </a:extLst>
          </p:cNvPr>
          <p:cNvPicPr>
            <a:picLocks noGrp="1" noChangeAspect="1"/>
          </p:cNvPicPr>
          <p:nvPr>
            <p:ph sz="quarter" idx="13"/>
          </p:nvPr>
        </p:nvPicPr>
        <p:blipFill>
          <a:blip r:embed="rId3"/>
          <a:stretch>
            <a:fillRect/>
          </a:stretch>
        </p:blipFill>
        <p:spPr>
          <a:xfrm>
            <a:off x="6389688" y="2384029"/>
            <a:ext cx="5219700" cy="2936080"/>
          </a:xfrm>
          <a:noFill/>
        </p:spPr>
      </p:pic>
    </p:spTree>
    <p:extLst>
      <p:ext uri="{BB962C8B-B14F-4D97-AF65-F5344CB8AC3E}">
        <p14:creationId xmlns:p14="http://schemas.microsoft.com/office/powerpoint/2010/main" val="364993659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Top Corners Rounded 45">
            <a:extLst>
              <a:ext uri="{FF2B5EF4-FFF2-40B4-BE49-F238E27FC236}">
                <a16:creationId xmlns:a16="http://schemas.microsoft.com/office/drawing/2014/main" id="{6F5AF09D-AEB6-83FB-D53A-D1BA1C4AC6B2}"/>
              </a:ext>
            </a:extLst>
          </p:cNvPr>
          <p:cNvSpPr/>
          <p:nvPr/>
        </p:nvSpPr>
        <p:spPr bwMode="auto">
          <a:xfrm rot="16200000" flipH="1">
            <a:off x="4651375"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5F1397DA-2DA8-5E4D-55E1-E94E21AC88EB}"/>
              </a:ext>
            </a:extLst>
          </p:cNvPr>
          <p:cNvSpPr/>
          <p:nvPr/>
        </p:nvSpPr>
        <p:spPr bwMode="auto">
          <a:xfrm>
            <a:off x="-1" y="1331686"/>
            <a:ext cx="5878287" cy="4949371"/>
          </a:xfrm>
          <a:custGeom>
            <a:avLst/>
            <a:gdLst>
              <a:gd name="connsiteX0" fmla="*/ 0 w 5878287"/>
              <a:gd name="connsiteY0" fmla="*/ 0 h 4949371"/>
              <a:gd name="connsiteX1" fmla="*/ 5640132 w 5878287"/>
              <a:gd name="connsiteY1" fmla="*/ 0 h 4949371"/>
              <a:gd name="connsiteX2" fmla="*/ 5878287 w 5878287"/>
              <a:gd name="connsiteY2" fmla="*/ 238155 h 4949371"/>
              <a:gd name="connsiteX3" fmla="*/ 5878287 w 5878287"/>
              <a:gd name="connsiteY3" fmla="*/ 615526 h 4949371"/>
              <a:gd name="connsiteX4" fmla="*/ 5878287 w 5878287"/>
              <a:gd name="connsiteY4" fmla="*/ 4572000 h 4949371"/>
              <a:gd name="connsiteX5" fmla="*/ 5878287 w 5878287"/>
              <a:gd name="connsiteY5" fmla="*/ 4949371 h 4949371"/>
              <a:gd name="connsiteX6" fmla="*/ 0 w 5878287"/>
              <a:gd name="connsiteY6" fmla="*/ 4949371 h 4949371"/>
              <a:gd name="connsiteX7" fmla="*/ 0 w 5878287"/>
              <a:gd name="connsiteY7" fmla="*/ 4572000 h 4949371"/>
              <a:gd name="connsiteX8" fmla="*/ 0 w 5878287"/>
              <a:gd name="connsiteY8" fmla="*/ 377371 h 494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8287" h="4949371">
                <a:moveTo>
                  <a:pt x="0" y="0"/>
                </a:moveTo>
                <a:lnTo>
                  <a:pt x="5640132" y="0"/>
                </a:lnTo>
                <a:cubicBezTo>
                  <a:pt x="5771661" y="0"/>
                  <a:pt x="5878287" y="106626"/>
                  <a:pt x="5878287" y="238155"/>
                </a:cubicBezTo>
                <a:lnTo>
                  <a:pt x="5878287" y="615526"/>
                </a:lnTo>
                <a:lnTo>
                  <a:pt x="5878287" y="4572000"/>
                </a:lnTo>
                <a:lnTo>
                  <a:pt x="5878287" y="4949371"/>
                </a:lnTo>
                <a:lnTo>
                  <a:pt x="0" y="4949371"/>
                </a:lnTo>
                <a:lnTo>
                  <a:pt x="0" y="4572000"/>
                </a:lnTo>
                <a:lnTo>
                  <a:pt x="0" y="377371"/>
                </a:lnTo>
                <a:close/>
              </a:path>
            </a:pathLst>
          </a:cu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4AA96B8A-9E77-484B-895D-1D4F6C4A6230}"/>
              </a:ext>
            </a:extLst>
          </p:cNvPr>
          <p:cNvSpPr txBox="1">
            <a:spLocks noGrp="1"/>
          </p:cNvSpPr>
          <p:nvPr>
            <p:ph type="title"/>
          </p:nvPr>
        </p:nvSpPr>
        <p:spPr>
          <a:xfrm>
            <a:off x="588263" y="457200"/>
            <a:ext cx="11018520" cy="492443"/>
          </a:xfrm>
        </p:spPr>
        <p:txBody>
          <a:bodyPr/>
          <a:lstStyle/>
          <a:p>
            <a:pPr lvl="0"/>
            <a:r>
              <a:rPr lang="en-US"/>
              <a:t>Learning objectives</a:t>
            </a:r>
            <a:endParaRPr lang="en-US" noProof="0"/>
          </a:p>
        </p:txBody>
      </p:sp>
      <p:sp>
        <p:nvSpPr>
          <p:cNvPr id="3" name="TextBox 2" descr="What's in it for you?">
            <a:extLst>
              <a:ext uri="{FF2B5EF4-FFF2-40B4-BE49-F238E27FC236}">
                <a16:creationId xmlns:a16="http://schemas.microsoft.com/office/drawing/2014/main" id="{41C43400-4EE3-4475-B344-69801D1D618F}"/>
              </a:ext>
            </a:extLst>
          </p:cNvPr>
          <p:cNvSpPr txBox="1"/>
          <p:nvPr/>
        </p:nvSpPr>
        <p:spPr>
          <a:xfrm>
            <a:off x="532290" y="1030576"/>
            <a:ext cx="5963760" cy="603242"/>
          </a:xfrm>
          <a:prstGeom prst="rect">
            <a:avLst/>
          </a:prstGeom>
          <a:noFill/>
        </p:spPr>
        <p:txBody>
          <a:bodyPr wrap="square" lIns="182880" tIns="146304" rIns="182880" bIns="146304" rtlCol="0" anchor="t">
            <a:spAutoFit/>
          </a:bodyPr>
          <a:lstStyle/>
          <a:p>
            <a:pPr marL="342900" marR="0" lvl="0" indent="-342900" algn="l" defTabSz="914400" rtl="0" eaLnBrk="1" fontAlgn="auto" latinLnBrk="0" hangingPunct="1">
              <a:spcBef>
                <a:spcPts val="0"/>
              </a:spcBef>
              <a:spcAft>
                <a:spcPts val="600"/>
              </a:spcAft>
              <a:buClrTx/>
              <a:buSzTx/>
              <a:buFont typeface="Wingdings" panose="05000000000000000000" pitchFamily="2" charset="2"/>
              <a:buChar char="§"/>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pic>
        <p:nvPicPr>
          <p:cNvPr id="44" name="Picture 43" descr="A person giving a presentation&#10;&#10;Description automatically generated with medium confidence">
            <a:extLst>
              <a:ext uri="{FF2B5EF4-FFF2-40B4-BE49-F238E27FC236}">
                <a16:creationId xmlns:a16="http://schemas.microsoft.com/office/drawing/2014/main" id="{3B4C718D-15CD-EBDE-3CE3-3C72F35C63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313" r="29757"/>
          <a:stretch/>
        </p:blipFill>
        <p:spPr>
          <a:xfrm>
            <a:off x="6254750" y="0"/>
            <a:ext cx="5937249" cy="6858000"/>
          </a:xfrm>
          <a:custGeom>
            <a:avLst/>
            <a:gdLst>
              <a:gd name="connsiteX0" fmla="*/ 245999 w 5937249"/>
              <a:gd name="connsiteY0" fmla="*/ 0 h 6858000"/>
              <a:gd name="connsiteX1" fmla="*/ 2430398 w 5937249"/>
              <a:gd name="connsiteY1" fmla="*/ 0 h 6858000"/>
              <a:gd name="connsiteX2" fmla="*/ 3752849 w 5937249"/>
              <a:gd name="connsiteY2" fmla="*/ 0 h 6858000"/>
              <a:gd name="connsiteX3" fmla="*/ 5937249 w 5937249"/>
              <a:gd name="connsiteY3" fmla="*/ 0 h 6858000"/>
              <a:gd name="connsiteX4" fmla="*/ 5937249 w 5937249"/>
              <a:gd name="connsiteY4" fmla="*/ 6858000 h 6858000"/>
              <a:gd name="connsiteX5" fmla="*/ 3752849 w 5937249"/>
              <a:gd name="connsiteY5" fmla="*/ 6858000 h 6858000"/>
              <a:gd name="connsiteX6" fmla="*/ 2430398 w 5937249"/>
              <a:gd name="connsiteY6" fmla="*/ 6858000 h 6858000"/>
              <a:gd name="connsiteX7" fmla="*/ 245999 w 5937249"/>
              <a:gd name="connsiteY7" fmla="*/ 6858000 h 6858000"/>
              <a:gd name="connsiteX8" fmla="*/ 0 w 5937249"/>
              <a:gd name="connsiteY8" fmla="*/ 6612002 h 6858000"/>
              <a:gd name="connsiteX9" fmla="*/ 0 w 5937249"/>
              <a:gd name="connsiteY9" fmla="*/ 245999 h 6858000"/>
              <a:gd name="connsiteX10" fmla="*/ 245999 w 59372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7249" h="6858000">
                <a:moveTo>
                  <a:pt x="245999" y="0"/>
                </a:moveTo>
                <a:lnTo>
                  <a:pt x="2430398" y="0"/>
                </a:lnTo>
                <a:lnTo>
                  <a:pt x="3752849" y="0"/>
                </a:lnTo>
                <a:lnTo>
                  <a:pt x="5937249" y="0"/>
                </a:lnTo>
                <a:lnTo>
                  <a:pt x="5937249" y="6858000"/>
                </a:lnTo>
                <a:lnTo>
                  <a:pt x="3752849" y="6858000"/>
                </a:lnTo>
                <a:lnTo>
                  <a:pt x="2430398" y="6858000"/>
                </a:lnTo>
                <a:lnTo>
                  <a:pt x="245999" y="6858000"/>
                </a:lnTo>
                <a:cubicBezTo>
                  <a:pt x="110137" y="6858000"/>
                  <a:pt x="0" y="6747862"/>
                  <a:pt x="0" y="6612002"/>
                </a:cubicBezTo>
                <a:lnTo>
                  <a:pt x="0" y="245999"/>
                </a:lnTo>
                <a:cubicBezTo>
                  <a:pt x="0" y="110138"/>
                  <a:pt x="110137" y="0"/>
                  <a:pt x="245999" y="0"/>
                </a:cubicBezTo>
                <a:close/>
              </a:path>
            </a:pathLst>
          </a:custGeom>
        </p:spPr>
      </p:pic>
      <p:sp>
        <p:nvSpPr>
          <p:cNvPr id="11" name="TextBox 10">
            <a:extLst>
              <a:ext uri="{FF2B5EF4-FFF2-40B4-BE49-F238E27FC236}">
                <a16:creationId xmlns:a16="http://schemas.microsoft.com/office/drawing/2014/main" id="{4CDBBAB8-E9CB-47C6-E69D-F17DB5F47E42}"/>
              </a:ext>
            </a:extLst>
          </p:cNvPr>
          <p:cNvSpPr txBox="1"/>
          <p:nvPr/>
        </p:nvSpPr>
        <p:spPr>
          <a:xfrm>
            <a:off x="588263" y="1445533"/>
            <a:ext cx="5111497" cy="492443"/>
          </a:xfrm>
          <a:prstGeom prst="rect">
            <a:avLst/>
          </a:prstGeom>
          <a:noFill/>
        </p:spPr>
        <p:txBody>
          <a:bodyPr wrap="square" lIns="0" tIns="0" rIns="0" bIns="0" anchor="t">
            <a:spAutoFit/>
          </a:bodyPr>
          <a:lstStyle/>
          <a:p>
            <a:pPr fontAlgn="base">
              <a:defRPr/>
            </a:pPr>
            <a:r>
              <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rPr>
              <a:t>In this workshop, you will participate in </a:t>
            </a:r>
            <a:r>
              <a:rPr lang="en-US" sz="1600" b="1" dirty="0">
                <a:solidFill>
                  <a:schemeClr val="accent1"/>
                </a:solidFill>
                <a:ea typeface="Times New Roman" panose="02020603050405020304" pitchFamily="18" charset="0"/>
              </a:rPr>
              <a:t>lecture and group activities</a:t>
            </a:r>
            <a:r>
              <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rPr>
              <a:t> to accomplish the following items:</a:t>
            </a:r>
            <a:r>
              <a:rPr lang="en-US" sz="1600" b="1" dirty="0">
                <a:solidFill>
                  <a:schemeClr val="accent1"/>
                </a:solidFill>
                <a:ea typeface="Times New Roman" panose="02020603050405020304" pitchFamily="18" charset="0"/>
              </a:rPr>
              <a:t> </a:t>
            </a:r>
            <a:endPar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endParaRPr>
          </a:p>
        </p:txBody>
      </p:sp>
      <p:sp>
        <p:nvSpPr>
          <p:cNvPr id="18" name="Freeform: Shape 11">
            <a:extLst>
              <a:ext uri="{FF2B5EF4-FFF2-40B4-BE49-F238E27FC236}">
                <a16:creationId xmlns:a16="http://schemas.microsoft.com/office/drawing/2014/main" id="{5C0CAE97-2245-1BA1-BDC4-68CAFA254E72}"/>
              </a:ext>
            </a:extLst>
          </p:cNvPr>
          <p:cNvSpPr>
            <a:spLocks/>
          </p:cNvSpPr>
          <p:nvPr/>
        </p:nvSpPr>
        <p:spPr bwMode="auto">
          <a:xfrm>
            <a:off x="672083" y="21821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Freeform: Shape 11">
            <a:extLst>
              <a:ext uri="{FF2B5EF4-FFF2-40B4-BE49-F238E27FC236}">
                <a16:creationId xmlns:a16="http://schemas.microsoft.com/office/drawing/2014/main" id="{850A8630-F93A-5083-907E-5DD178CD371D}"/>
              </a:ext>
            </a:extLst>
          </p:cNvPr>
          <p:cNvSpPr>
            <a:spLocks/>
          </p:cNvSpPr>
          <p:nvPr/>
        </p:nvSpPr>
        <p:spPr bwMode="auto">
          <a:xfrm>
            <a:off x="672083" y="30013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02D7E235-3010-8F4D-9EA1-3D42A6852D6A}"/>
              </a:ext>
            </a:extLst>
          </p:cNvPr>
          <p:cNvSpPr>
            <a:spLocks/>
          </p:cNvSpPr>
          <p:nvPr/>
        </p:nvSpPr>
        <p:spPr bwMode="auto">
          <a:xfrm>
            <a:off x="672083" y="38204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Freeform: Shape 11">
            <a:extLst>
              <a:ext uri="{FF2B5EF4-FFF2-40B4-BE49-F238E27FC236}">
                <a16:creationId xmlns:a16="http://schemas.microsoft.com/office/drawing/2014/main" id="{61DDBE35-220C-242E-9B96-D3C0DC2F625C}"/>
              </a:ext>
            </a:extLst>
          </p:cNvPr>
          <p:cNvSpPr>
            <a:spLocks/>
          </p:cNvSpPr>
          <p:nvPr/>
        </p:nvSpPr>
        <p:spPr bwMode="auto">
          <a:xfrm>
            <a:off x="672083" y="46396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34C8A714-55EC-40AC-B65A-1F994DEC5152}"/>
              </a:ext>
            </a:extLst>
          </p:cNvPr>
          <p:cNvSpPr txBox="1"/>
          <p:nvPr/>
        </p:nvSpPr>
        <p:spPr>
          <a:xfrm>
            <a:off x="912495" y="212052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Accessing and navigating the Microsoft Azure Marketplace.</a:t>
            </a:r>
            <a:endParaRPr lang="en-US" sz="1400" dirty="0">
              <a:effectLst/>
              <a:ea typeface="Calibri" panose="020F0502020204030204" pitchFamily="34" charset="0"/>
              <a:cs typeface="Arial"/>
            </a:endParaRPr>
          </a:p>
        </p:txBody>
      </p:sp>
      <p:sp>
        <p:nvSpPr>
          <p:cNvPr id="28" name="TextBox 27">
            <a:extLst>
              <a:ext uri="{FF2B5EF4-FFF2-40B4-BE49-F238E27FC236}">
                <a16:creationId xmlns:a16="http://schemas.microsoft.com/office/drawing/2014/main" id="{C9EAB225-5AB7-686B-2B0B-5A0DA0699DAA}"/>
              </a:ext>
            </a:extLst>
          </p:cNvPr>
          <p:cNvSpPr txBox="1"/>
          <p:nvPr/>
        </p:nvSpPr>
        <p:spPr>
          <a:xfrm>
            <a:off x="912495" y="293967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Searching and deploying solutions in the Microsoft Azure Marketplace.</a:t>
            </a:r>
            <a:endParaRPr lang="en-US" sz="1400" dirty="0">
              <a:effectLst/>
              <a:ea typeface="Calibri" panose="020F050202020403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396F3C3E-06A6-C7C0-E225-74DAE937B4B6}"/>
              </a:ext>
            </a:extLst>
          </p:cNvPr>
          <p:cNvSpPr txBox="1"/>
          <p:nvPr/>
        </p:nvSpPr>
        <p:spPr>
          <a:xfrm>
            <a:off x="912495" y="375882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Integration of procurement applications into the Microsoft Azure Marketplace</a:t>
            </a:r>
            <a:r>
              <a:rPr lang="en-US" sz="1400" dirty="0">
                <a:effectLst/>
                <a:ea typeface="Calibri" panose="020F0502020204030204" pitchFamily="34" charset="0"/>
                <a:cs typeface="Arial"/>
              </a:rPr>
              <a:t>.</a:t>
            </a:r>
          </a:p>
        </p:txBody>
      </p:sp>
      <p:sp>
        <p:nvSpPr>
          <p:cNvPr id="34" name="TextBox 33">
            <a:extLst>
              <a:ext uri="{FF2B5EF4-FFF2-40B4-BE49-F238E27FC236}">
                <a16:creationId xmlns:a16="http://schemas.microsoft.com/office/drawing/2014/main" id="{A53BEA30-32DF-F647-94E1-F0D90C6E0D13}"/>
              </a:ext>
            </a:extLst>
          </p:cNvPr>
          <p:cNvSpPr txBox="1"/>
          <p:nvPr/>
        </p:nvSpPr>
        <p:spPr>
          <a:xfrm>
            <a:off x="912495" y="457797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Microsoft Azure Marketplace governance and permissions</a:t>
            </a:r>
            <a:r>
              <a:rPr lang="en-US" sz="1400" dirty="0">
                <a:effectLst/>
                <a:ea typeface="Calibri" panose="020F0502020204030204" pitchFamily="34" charset="0"/>
                <a:cs typeface="Arial"/>
              </a:rPr>
              <a:t>.</a:t>
            </a:r>
          </a:p>
        </p:txBody>
      </p:sp>
      <p:sp>
        <p:nvSpPr>
          <p:cNvPr id="37" name="TextBox 36">
            <a:extLst>
              <a:ext uri="{FF2B5EF4-FFF2-40B4-BE49-F238E27FC236}">
                <a16:creationId xmlns:a16="http://schemas.microsoft.com/office/drawing/2014/main" id="{F54DB8AE-368A-6FC1-959E-5DD62306E2C5}"/>
              </a:ext>
            </a:extLst>
          </p:cNvPr>
          <p:cNvSpPr txBox="1"/>
          <p:nvPr/>
        </p:nvSpPr>
        <p:spPr>
          <a:xfrm>
            <a:off x="912495" y="5397123"/>
            <a:ext cx="4840605" cy="215444"/>
          </a:xfrm>
          <a:prstGeom prst="rect">
            <a:avLst/>
          </a:prstGeom>
          <a:noFill/>
        </p:spPr>
        <p:txBody>
          <a:bodyPr wrap="square" lIns="0" tIns="0" rIns="0" bIns="0" rtlCol="0" anchor="t">
            <a:spAutoFit/>
          </a:bodyPr>
          <a:lstStyle/>
          <a:p>
            <a:pPr>
              <a:spcAft>
                <a:spcPts val="1000"/>
              </a:spcAft>
              <a:tabLst>
                <a:tab pos="457200" algn="l"/>
              </a:tabLst>
            </a:pPr>
            <a:r>
              <a:rPr lang="en-US" sz="1400" dirty="0">
                <a:cs typeface="Arial"/>
              </a:rPr>
              <a:t>Managing purchases and setting up limits.</a:t>
            </a:r>
            <a:endParaRPr lang="en-US" dirty="0"/>
          </a:p>
        </p:txBody>
      </p:sp>
      <p:sp>
        <p:nvSpPr>
          <p:cNvPr id="38" name="Freeform: Shape 11">
            <a:extLst>
              <a:ext uri="{FF2B5EF4-FFF2-40B4-BE49-F238E27FC236}">
                <a16:creationId xmlns:a16="http://schemas.microsoft.com/office/drawing/2014/main" id="{DF90CCCC-898D-8DC1-3431-1D965026B6A8}"/>
              </a:ext>
            </a:extLst>
          </p:cNvPr>
          <p:cNvSpPr>
            <a:spLocks/>
          </p:cNvSpPr>
          <p:nvPr/>
        </p:nvSpPr>
        <p:spPr bwMode="auto">
          <a:xfrm>
            <a:off x="672083" y="54587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458210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Drawing Customers to Your Listing</a:t>
            </a:r>
          </a:p>
        </p:txBody>
      </p:sp>
      <p:graphicFrame>
        <p:nvGraphicFramePr>
          <p:cNvPr id="11" name="Content Placeholder 2">
            <a:extLst>
              <a:ext uri="{FF2B5EF4-FFF2-40B4-BE49-F238E27FC236}">
                <a16:creationId xmlns:a16="http://schemas.microsoft.com/office/drawing/2014/main" id="{4FCBB56A-54EC-13D5-CEA2-56FB6C094E1B}"/>
              </a:ext>
            </a:extLst>
          </p:cNvPr>
          <p:cNvGraphicFramePr>
            <a:graphicFrameLocks noGrp="1"/>
          </p:cNvGraphicFramePr>
          <p:nvPr>
            <p:ph sz="quarter" idx="10"/>
            <p:extLst>
              <p:ext uri="{D42A27DB-BD31-4B8C-83A1-F6EECF244321}">
                <p14:modId xmlns:p14="http://schemas.microsoft.com/office/powerpoint/2010/main" val="377569839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985718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p:txBody>
          <a:bodyPr/>
          <a:lstStyle/>
          <a:p>
            <a:r>
              <a:rPr lang="en-US">
                <a:cs typeface="Segoe UI"/>
              </a:rPr>
              <a:t>Azure Marketplace Purchasing</a:t>
            </a:r>
            <a:endParaRPr lang="en-US"/>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0"/>
          </p:nvPr>
        </p:nvSpPr>
        <p:spPr>
          <a:xfrm>
            <a:off x="584200" y="1435100"/>
            <a:ext cx="11018838" cy="2942344"/>
          </a:xfrm>
        </p:spPr>
        <p:txBody>
          <a:bodyPr vert="horz" wrap="square" lIns="0" tIns="0" rIns="0" bIns="0" rtlCol="0" anchor="t">
            <a:spAutoFit/>
          </a:bodyPr>
          <a:lstStyle/>
          <a:p>
            <a:r>
              <a:rPr lang="en-US" dirty="0">
                <a:cs typeface="Segoe UI"/>
              </a:rPr>
              <a:t>Simplified procurement</a:t>
            </a:r>
          </a:p>
          <a:p>
            <a:pPr lvl="1"/>
            <a:r>
              <a:rPr lang="en-US" dirty="0">
                <a:cs typeface="Segoe UI"/>
              </a:rPr>
              <a:t>Credit card</a:t>
            </a:r>
          </a:p>
          <a:p>
            <a:pPr lvl="1"/>
            <a:r>
              <a:rPr lang="en-US" dirty="0">
                <a:cs typeface="Segoe UI"/>
              </a:rPr>
              <a:t>Microsoft account</a:t>
            </a:r>
          </a:p>
          <a:p>
            <a:r>
              <a:rPr lang="en-US" dirty="0">
                <a:cs typeface="Segoe UI"/>
              </a:rPr>
              <a:t>Permission to purchase</a:t>
            </a:r>
          </a:p>
          <a:p>
            <a:pPr lvl="1"/>
            <a:r>
              <a:rPr lang="en-US" dirty="0">
                <a:cs typeface="Segoe UI"/>
              </a:rPr>
              <a:t>RBAC permissions</a:t>
            </a:r>
          </a:p>
          <a:p>
            <a:pPr lvl="1"/>
            <a:r>
              <a:rPr lang="en-US" dirty="0">
                <a:cs typeface="Segoe UI"/>
              </a:rPr>
              <a:t>Subscription owner or contributor</a:t>
            </a:r>
          </a:p>
          <a:p>
            <a:pPr marL="0" indent="0">
              <a:buNone/>
            </a:pPr>
            <a:endParaRPr lang="en-US" dirty="0"/>
          </a:p>
        </p:txBody>
      </p:sp>
      <p:pic>
        <p:nvPicPr>
          <p:cNvPr id="4" name="Picture 3" descr="A screenshot of a search engine&#10;&#10;Description automatically generated">
            <a:extLst>
              <a:ext uri="{FF2B5EF4-FFF2-40B4-BE49-F238E27FC236}">
                <a16:creationId xmlns:a16="http://schemas.microsoft.com/office/drawing/2014/main" id="{E4B1F715-1E43-CED5-B95B-CA22EDDF35F0}"/>
              </a:ext>
            </a:extLst>
          </p:cNvPr>
          <p:cNvPicPr>
            <a:picLocks noChangeAspect="1"/>
          </p:cNvPicPr>
          <p:nvPr/>
        </p:nvPicPr>
        <p:blipFill>
          <a:blip r:embed="rId2"/>
          <a:stretch>
            <a:fillRect/>
          </a:stretch>
        </p:blipFill>
        <p:spPr>
          <a:xfrm>
            <a:off x="6150707" y="1120045"/>
            <a:ext cx="2743200" cy="1823910"/>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B91B4004-1918-A295-B3E4-6E2F659B7B18}"/>
              </a:ext>
            </a:extLst>
          </p:cNvPr>
          <p:cNvPicPr>
            <a:picLocks noChangeAspect="1"/>
          </p:cNvPicPr>
          <p:nvPr/>
        </p:nvPicPr>
        <p:blipFill>
          <a:blip r:embed="rId3"/>
          <a:stretch>
            <a:fillRect/>
          </a:stretch>
        </p:blipFill>
        <p:spPr>
          <a:xfrm>
            <a:off x="7723553" y="3050252"/>
            <a:ext cx="2743200" cy="1519498"/>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C0F4C352-6777-1D9E-1226-66234D0C47DB}"/>
              </a:ext>
            </a:extLst>
          </p:cNvPr>
          <p:cNvPicPr>
            <a:picLocks noChangeAspect="1"/>
          </p:cNvPicPr>
          <p:nvPr/>
        </p:nvPicPr>
        <p:blipFill>
          <a:blip r:embed="rId4"/>
          <a:stretch>
            <a:fillRect/>
          </a:stretch>
        </p:blipFill>
        <p:spPr>
          <a:xfrm>
            <a:off x="9140092" y="4701933"/>
            <a:ext cx="2743200" cy="1908904"/>
          </a:xfrm>
          <a:prstGeom prst="rect">
            <a:avLst/>
          </a:prstGeom>
        </p:spPr>
      </p:pic>
    </p:spTree>
    <p:extLst>
      <p:ext uri="{BB962C8B-B14F-4D97-AF65-F5344CB8AC3E}">
        <p14:creationId xmlns:p14="http://schemas.microsoft.com/office/powerpoint/2010/main" val="161970989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a:cs typeface="Segoe UI"/>
              </a:rPr>
              <a:t>Purchase Policy Management</a:t>
            </a:r>
            <a:endParaRPr lang="en-US"/>
          </a:p>
        </p:txBody>
      </p:sp>
      <p:pic>
        <p:nvPicPr>
          <p:cNvPr id="4" name="Picture 3" descr="A screenshot of a computer&#10;&#10;Description automatically generated">
            <a:extLst>
              <a:ext uri="{FF2B5EF4-FFF2-40B4-BE49-F238E27FC236}">
                <a16:creationId xmlns:a16="http://schemas.microsoft.com/office/drawing/2014/main" id="{3C834E98-F6CA-66D9-C28E-92924765C16D}"/>
              </a:ext>
            </a:extLst>
          </p:cNvPr>
          <p:cNvPicPr>
            <a:picLocks noChangeAspect="1"/>
          </p:cNvPicPr>
          <p:nvPr/>
        </p:nvPicPr>
        <p:blipFill>
          <a:blip r:embed="rId2"/>
          <a:stretch>
            <a:fillRect/>
          </a:stretch>
        </p:blipFill>
        <p:spPr>
          <a:xfrm>
            <a:off x="584200" y="1825997"/>
            <a:ext cx="5211763" cy="4052144"/>
          </a:xfrm>
          <a:prstGeom prst="rect">
            <a:avLst/>
          </a:prstGeom>
          <a:noFill/>
        </p:spPr>
      </p:pic>
      <p:sp>
        <p:nvSpPr>
          <p:cNvPr id="3" name="Content Placeholder 2">
            <a:extLst>
              <a:ext uri="{FF2B5EF4-FFF2-40B4-BE49-F238E27FC236}">
                <a16:creationId xmlns:a16="http://schemas.microsoft.com/office/drawing/2014/main" id="{F8D78B17-9AC1-3773-F5A7-05FB325AB696}"/>
              </a:ext>
            </a:extLst>
          </p:cNvPr>
          <p:cNvSpPr>
            <a:spLocks noGrp="1"/>
          </p:cNvSpPr>
          <p:nvPr>
            <p:ph sz="quarter" idx="13"/>
          </p:nvPr>
        </p:nvSpPr>
        <p:spPr>
          <a:xfrm>
            <a:off x="6389688" y="1435100"/>
            <a:ext cx="5219700" cy="4833938"/>
          </a:xfrm>
        </p:spPr>
        <p:txBody>
          <a:bodyPr vert="horz" wrap="square" lIns="0" tIns="0" rIns="0" bIns="0" rtlCol="0" anchor="t">
            <a:normAutofit/>
          </a:bodyPr>
          <a:lstStyle/>
          <a:p>
            <a:pPr>
              <a:lnSpc>
                <a:spcPct val="90000"/>
              </a:lnSpc>
            </a:pPr>
            <a:r>
              <a:rPr lang="en-US" sz="2400" dirty="0">
                <a:cs typeface="Segoe UI"/>
              </a:rPr>
              <a:t>Purchase policy management</a:t>
            </a:r>
          </a:p>
          <a:p>
            <a:pPr lvl="1">
              <a:lnSpc>
                <a:spcPct val="90000"/>
              </a:lnSpc>
            </a:pPr>
            <a:r>
              <a:rPr lang="en-US" sz="2400" dirty="0"/>
              <a:t>Azure subscription administrator manages</a:t>
            </a:r>
            <a:endParaRPr lang="en-US" sz="2400">
              <a:cs typeface="Segoe UI"/>
            </a:endParaRPr>
          </a:p>
          <a:p>
            <a:pPr lvl="1">
              <a:lnSpc>
                <a:spcPct val="90000"/>
              </a:lnSpc>
            </a:pPr>
            <a:r>
              <a:rPr lang="en-US" sz="2400" dirty="0"/>
              <a:t>Billing profiles</a:t>
            </a:r>
            <a:endParaRPr lang="en-US" sz="2400">
              <a:cs typeface="Segoe UI"/>
            </a:endParaRPr>
          </a:p>
          <a:p>
            <a:pPr lvl="1">
              <a:lnSpc>
                <a:spcPct val="90000"/>
              </a:lnSpc>
            </a:pPr>
            <a:r>
              <a:rPr lang="en-US" sz="2400" dirty="0"/>
              <a:t>Policies manage user purchases</a:t>
            </a:r>
            <a:endParaRPr lang="en-US" sz="2400">
              <a:cs typeface="Segoe UI"/>
            </a:endParaRPr>
          </a:p>
          <a:p>
            <a:pPr lvl="2">
              <a:lnSpc>
                <a:spcPct val="90000"/>
              </a:lnSpc>
            </a:pPr>
            <a:r>
              <a:rPr lang="en-US" sz="2400" dirty="0"/>
              <a:t>Azure Reservations</a:t>
            </a:r>
            <a:endParaRPr lang="en-US" sz="2400">
              <a:cs typeface="Segoe UI"/>
            </a:endParaRPr>
          </a:p>
          <a:p>
            <a:pPr lvl="2">
              <a:lnSpc>
                <a:spcPct val="90000"/>
              </a:lnSpc>
            </a:pPr>
            <a:r>
              <a:rPr lang="en-US" sz="2400" dirty="0"/>
              <a:t>Azure Marketplace</a:t>
            </a:r>
            <a:endParaRPr lang="en-US" sz="2400">
              <a:cs typeface="Segoe UI"/>
            </a:endParaRPr>
          </a:p>
          <a:p>
            <a:pPr marL="842645" lvl="3">
              <a:lnSpc>
                <a:spcPct val="90000"/>
              </a:lnSpc>
            </a:pPr>
            <a:r>
              <a:rPr lang="en-US" sz="2400" dirty="0"/>
              <a:t>Free + Paid</a:t>
            </a:r>
            <a:endParaRPr lang="en-US" sz="2400">
              <a:cs typeface="Segoe UI"/>
            </a:endParaRPr>
          </a:p>
          <a:p>
            <a:pPr marL="842645" lvl="3">
              <a:lnSpc>
                <a:spcPct val="90000"/>
              </a:lnSpc>
            </a:pPr>
            <a:r>
              <a:rPr lang="en-US" sz="2400" dirty="0"/>
              <a:t>Free</a:t>
            </a:r>
            <a:endParaRPr lang="en-US" sz="2400">
              <a:cs typeface="Segoe UI"/>
            </a:endParaRPr>
          </a:p>
          <a:p>
            <a:pPr marL="842645" lvl="3">
              <a:lnSpc>
                <a:spcPct val="90000"/>
              </a:lnSpc>
            </a:pPr>
            <a:r>
              <a:rPr lang="en-US" sz="2400" dirty="0"/>
              <a:t>No</a:t>
            </a:r>
            <a:endParaRPr lang="en-US" sz="2400">
              <a:cs typeface="Segoe UI"/>
            </a:endParaRPr>
          </a:p>
          <a:p>
            <a:pPr lvl="2">
              <a:lnSpc>
                <a:spcPct val="90000"/>
              </a:lnSpc>
            </a:pPr>
            <a:r>
              <a:rPr lang="en-US" sz="2400" dirty="0"/>
              <a:t>Labels</a:t>
            </a:r>
            <a:endParaRPr lang="en-US" sz="2400" dirty="0">
              <a:cs typeface="Segoe UI"/>
            </a:endParaRPr>
          </a:p>
          <a:p>
            <a:pPr lvl="1">
              <a:lnSpc>
                <a:spcPct val="90000"/>
              </a:lnSpc>
            </a:pPr>
            <a:endParaRPr lang="en-US"/>
          </a:p>
          <a:p>
            <a:pPr>
              <a:lnSpc>
                <a:spcPct val="90000"/>
              </a:lnSpc>
            </a:pPr>
            <a:endParaRPr lang="en-US" sz="2000" dirty="0"/>
          </a:p>
        </p:txBody>
      </p:sp>
    </p:spTree>
    <p:extLst>
      <p:ext uri="{BB962C8B-B14F-4D97-AF65-F5344CB8AC3E}">
        <p14:creationId xmlns:p14="http://schemas.microsoft.com/office/powerpoint/2010/main" val="30561380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a:cs typeface="Segoe UI"/>
              </a:rPr>
              <a:t>Cost Management and Purchase Validation</a:t>
            </a:r>
            <a:endParaRPr lang="en-US"/>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2"/>
          </p:nvPr>
        </p:nvSpPr>
        <p:spPr>
          <a:xfrm>
            <a:off x="584200" y="1435100"/>
            <a:ext cx="5211763" cy="4833938"/>
          </a:xfrm>
        </p:spPr>
        <p:txBody>
          <a:bodyPr vert="horz" wrap="square" lIns="0" tIns="0" rIns="0" bIns="0" rtlCol="0" anchor="t">
            <a:normAutofit/>
          </a:bodyPr>
          <a:lstStyle/>
          <a:p>
            <a:pPr>
              <a:lnSpc>
                <a:spcPct val="90000"/>
              </a:lnSpc>
            </a:pPr>
            <a:r>
              <a:rPr lang="en-US" sz="2400" dirty="0">
                <a:cs typeface="Segoe UI"/>
              </a:rPr>
              <a:t>Cost management</a:t>
            </a:r>
          </a:p>
          <a:p>
            <a:pPr lvl="1">
              <a:lnSpc>
                <a:spcPct val="90000"/>
              </a:lnSpc>
            </a:pPr>
            <a:r>
              <a:rPr lang="en-US" dirty="0">
                <a:cs typeface="Segoe UI"/>
              </a:rPr>
              <a:t>Set budgets</a:t>
            </a:r>
          </a:p>
          <a:p>
            <a:pPr lvl="1">
              <a:lnSpc>
                <a:spcPct val="90000"/>
              </a:lnSpc>
            </a:pPr>
            <a:r>
              <a:rPr lang="en-US" dirty="0">
                <a:cs typeface="Segoe UI"/>
              </a:rPr>
              <a:t>Spending limits</a:t>
            </a:r>
          </a:p>
          <a:p>
            <a:pPr lvl="1">
              <a:lnSpc>
                <a:spcPct val="90000"/>
              </a:lnSpc>
            </a:pPr>
            <a:r>
              <a:rPr lang="en-US" dirty="0">
                <a:cs typeface="Segoe UI"/>
              </a:rPr>
              <a:t>Analyze costs and spending</a:t>
            </a:r>
          </a:p>
          <a:p>
            <a:pPr>
              <a:lnSpc>
                <a:spcPct val="90000"/>
              </a:lnSpc>
            </a:pPr>
            <a:r>
              <a:rPr lang="en-US" sz="2400" dirty="0">
                <a:cs typeface="Segoe UI"/>
              </a:rPr>
              <a:t>Purchase validation checks</a:t>
            </a:r>
          </a:p>
          <a:p>
            <a:pPr lvl="1">
              <a:lnSpc>
                <a:spcPct val="90000"/>
              </a:lnSpc>
            </a:pPr>
            <a:r>
              <a:rPr lang="en-US" dirty="0">
                <a:cs typeface="Segoe UI"/>
              </a:rPr>
              <a:t>Failure to purchase reasons</a:t>
            </a:r>
          </a:p>
          <a:p>
            <a:pPr lvl="1">
              <a:lnSpc>
                <a:spcPct val="90000"/>
              </a:lnSpc>
            </a:pPr>
            <a:r>
              <a:rPr lang="en-US" dirty="0">
                <a:cs typeface="Segoe UI"/>
              </a:rPr>
              <a:t>Governs the policies that have been put in </a:t>
            </a:r>
            <a:r>
              <a:rPr lang="en-US">
                <a:cs typeface="Segoe UI"/>
              </a:rPr>
              <a:t>place</a:t>
            </a:r>
          </a:p>
          <a:p>
            <a:pPr lvl="1">
              <a:lnSpc>
                <a:spcPct val="90000"/>
              </a:lnSpc>
            </a:pPr>
            <a:endParaRPr lang="en-US" dirty="0">
              <a:cs typeface="Segoe UI"/>
            </a:endParaRPr>
          </a:p>
        </p:txBody>
      </p:sp>
      <p:pic>
        <p:nvPicPr>
          <p:cNvPr id="5" name="Picture 4" descr="A screenshot of a computer&#10;&#10;Description automatically generated">
            <a:extLst>
              <a:ext uri="{FF2B5EF4-FFF2-40B4-BE49-F238E27FC236}">
                <a16:creationId xmlns:a16="http://schemas.microsoft.com/office/drawing/2014/main" id="{ACE3BBAE-9A18-5700-CE4F-E826C7A13EC8}"/>
              </a:ext>
            </a:extLst>
          </p:cNvPr>
          <p:cNvPicPr>
            <a:picLocks noChangeAspect="1"/>
          </p:cNvPicPr>
          <p:nvPr/>
        </p:nvPicPr>
        <p:blipFill>
          <a:blip r:embed="rId3"/>
          <a:stretch>
            <a:fillRect/>
          </a:stretch>
        </p:blipFill>
        <p:spPr>
          <a:xfrm>
            <a:off x="6389688" y="1855534"/>
            <a:ext cx="5219700" cy="3993070"/>
          </a:xfrm>
          <a:prstGeom prst="rect">
            <a:avLst/>
          </a:prstGeom>
          <a:noFill/>
        </p:spPr>
      </p:pic>
    </p:spTree>
    <p:extLst>
      <p:ext uri="{BB962C8B-B14F-4D97-AF65-F5344CB8AC3E}">
        <p14:creationId xmlns:p14="http://schemas.microsoft.com/office/powerpoint/2010/main" val="110314527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Application</a:t>
            </a:r>
          </a:p>
        </p:txBody>
      </p:sp>
      <p:graphicFrame>
        <p:nvGraphicFramePr>
          <p:cNvPr id="11" name="Content Placeholder 2">
            <a:extLst>
              <a:ext uri="{FF2B5EF4-FFF2-40B4-BE49-F238E27FC236}">
                <a16:creationId xmlns:a16="http://schemas.microsoft.com/office/drawing/2014/main" id="{2183D4C5-A866-40A4-5694-A87F596A4052}"/>
              </a:ext>
            </a:extLst>
          </p:cNvPr>
          <p:cNvGraphicFramePr>
            <a:graphicFrameLocks noGrp="1"/>
          </p:cNvGraphicFramePr>
          <p:nvPr>
            <p:ph sz="quarter" idx="10"/>
            <p:extLst>
              <p:ext uri="{D42A27DB-BD31-4B8C-83A1-F6EECF244321}">
                <p14:modId xmlns:p14="http://schemas.microsoft.com/office/powerpoint/2010/main" val="2393192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150054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Application</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Walk through demo</a:t>
            </a:r>
            <a:endParaRPr lang="en-US" dirty="0"/>
          </a:p>
          <a:p>
            <a:r>
              <a:rPr lang="en-US" dirty="0">
                <a:cs typeface="Segoe UI"/>
              </a:rPr>
              <a:t>Lab exercise in the afternoon</a:t>
            </a:r>
            <a:endParaRPr lang="en-US" dirty="0"/>
          </a:p>
        </p:txBody>
      </p:sp>
    </p:spTree>
    <p:extLst>
      <p:ext uri="{BB962C8B-B14F-4D97-AF65-F5344CB8AC3E}">
        <p14:creationId xmlns:p14="http://schemas.microsoft.com/office/powerpoint/2010/main" val="91789040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resources</a:t>
            </a:r>
          </a:p>
        </p:txBody>
      </p:sp>
      <p:graphicFrame>
        <p:nvGraphicFramePr>
          <p:cNvPr id="11" name="Content Placeholder 2">
            <a:extLst>
              <a:ext uri="{FF2B5EF4-FFF2-40B4-BE49-F238E27FC236}">
                <a16:creationId xmlns:a16="http://schemas.microsoft.com/office/drawing/2014/main" id="{6281DC71-4E38-C0BA-1574-1BD154A67139}"/>
              </a:ext>
            </a:extLst>
          </p:cNvPr>
          <p:cNvGraphicFramePr>
            <a:graphicFrameLocks noGrp="1"/>
          </p:cNvGraphicFramePr>
          <p:nvPr>
            <p:ph sz="quarter" idx="10"/>
            <p:extLst>
              <p:ext uri="{D42A27DB-BD31-4B8C-83A1-F6EECF244321}">
                <p14:modId xmlns:p14="http://schemas.microsoft.com/office/powerpoint/2010/main" val="193913008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553975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Virtual Machine</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Walk through demo</a:t>
            </a:r>
            <a:endParaRPr lang="en-US" dirty="0"/>
          </a:p>
          <a:p>
            <a:r>
              <a:rPr lang="en-US" dirty="0">
                <a:cs typeface="Segoe UI"/>
              </a:rPr>
              <a:t>Lab exercise in the afternoon</a:t>
            </a:r>
            <a:endParaRPr lang="en-US" dirty="0"/>
          </a:p>
        </p:txBody>
      </p:sp>
    </p:spTree>
    <p:extLst>
      <p:ext uri="{BB962C8B-B14F-4D97-AF65-F5344CB8AC3E}">
        <p14:creationId xmlns:p14="http://schemas.microsoft.com/office/powerpoint/2010/main" val="298361739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1B069-6AF3-7B68-6726-099657220172}"/>
              </a:ext>
            </a:extLst>
          </p:cNvPr>
          <p:cNvSpPr>
            <a:spLocks noGrp="1"/>
          </p:cNvSpPr>
          <p:nvPr>
            <p:ph type="title"/>
          </p:nvPr>
        </p:nvSpPr>
        <p:spPr>
          <a:xfrm>
            <a:off x="588263" y="457200"/>
            <a:ext cx="11018520" cy="553998"/>
          </a:xfrm>
        </p:spPr>
        <p:txBody>
          <a:bodyPr wrap="square" anchor="t">
            <a:normAutofit/>
          </a:bodyPr>
          <a:lstStyle/>
          <a:p>
            <a:r>
              <a:rPr lang="en-US"/>
              <a:t>Purchasing SaaS applications</a:t>
            </a:r>
          </a:p>
        </p:txBody>
      </p:sp>
      <p:graphicFrame>
        <p:nvGraphicFramePr>
          <p:cNvPr id="5" name="Content Placeholder 2">
            <a:extLst>
              <a:ext uri="{FF2B5EF4-FFF2-40B4-BE49-F238E27FC236}">
                <a16:creationId xmlns:a16="http://schemas.microsoft.com/office/drawing/2014/main" id="{0F261073-2BAD-D61A-DB99-49C156412A8F}"/>
              </a:ext>
            </a:extLst>
          </p:cNvPr>
          <p:cNvGraphicFramePr>
            <a:graphicFrameLocks noGrp="1"/>
          </p:cNvGraphicFramePr>
          <p:nvPr>
            <p:ph sz="quarter" idx="10"/>
            <p:extLst>
              <p:ext uri="{D42A27DB-BD31-4B8C-83A1-F6EECF244321}">
                <p14:modId xmlns:p14="http://schemas.microsoft.com/office/powerpoint/2010/main" val="2244243771"/>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121427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B2EE4-07A0-D158-D22F-B55E61E4F006}"/>
              </a:ext>
            </a:extLst>
          </p:cNvPr>
          <p:cNvSpPr>
            <a:spLocks noGrp="1"/>
          </p:cNvSpPr>
          <p:nvPr>
            <p:ph type="title"/>
          </p:nvPr>
        </p:nvSpPr>
        <p:spPr>
          <a:xfrm>
            <a:off x="588263" y="457200"/>
            <a:ext cx="11018520" cy="553998"/>
          </a:xfrm>
        </p:spPr>
        <p:txBody>
          <a:bodyPr/>
          <a:lstStyle/>
          <a:p>
            <a:r>
              <a:rPr lang="en-US">
                <a:cs typeface="Segoe UI Semibold"/>
              </a:rPr>
              <a:t>Purchase and Subscribe to a SaaS offer</a:t>
            </a:r>
          </a:p>
        </p:txBody>
      </p:sp>
      <p:sp>
        <p:nvSpPr>
          <p:cNvPr id="3" name="Content Placeholder 2">
            <a:extLst>
              <a:ext uri="{FF2B5EF4-FFF2-40B4-BE49-F238E27FC236}">
                <a16:creationId xmlns:a16="http://schemas.microsoft.com/office/drawing/2014/main" id="{85C97FA8-BE0A-E10E-33B0-9E19F185EBA4}"/>
              </a:ext>
            </a:extLst>
          </p:cNvPr>
          <p:cNvSpPr>
            <a:spLocks noGrp="1"/>
          </p:cNvSpPr>
          <p:nvPr>
            <p:ph sz="quarter" idx="10"/>
          </p:nvPr>
        </p:nvSpPr>
        <p:spPr>
          <a:xfrm>
            <a:off x="584200" y="1435100"/>
            <a:ext cx="11018838" cy="2511457"/>
          </a:xfrm>
        </p:spPr>
        <p:txBody>
          <a:bodyPr vert="horz" wrap="square" lIns="0" tIns="0" rIns="0" bIns="0" rtlCol="0" anchor="t">
            <a:spAutoFit/>
          </a:bodyPr>
          <a:lstStyle/>
          <a:p>
            <a:r>
              <a:rPr lang="en-US" dirty="0">
                <a:cs typeface="Segoe UI"/>
              </a:rPr>
              <a:t>Walk through demo</a:t>
            </a:r>
          </a:p>
          <a:p>
            <a:pPr lvl="1"/>
            <a:r>
              <a:rPr lang="en-US" dirty="0">
                <a:cs typeface="Segoe UI"/>
              </a:rPr>
              <a:t>Subscription and configuration</a:t>
            </a:r>
          </a:p>
          <a:p>
            <a:pPr lvl="1"/>
            <a:r>
              <a:rPr lang="en-US" dirty="0">
                <a:ea typeface="+mn-lt"/>
                <a:cs typeface="+mn-lt"/>
              </a:rPr>
              <a:t>https://learn.microsoft.com/en-us/marketplace/purchase-saas-offer-in-azure-portal#saas-subscription-and-configuration</a:t>
            </a:r>
            <a:endParaRPr lang="en-US" dirty="0">
              <a:cs typeface="Segoe UI"/>
            </a:endParaRPr>
          </a:p>
          <a:p>
            <a:r>
              <a:rPr lang="en-US" dirty="0">
                <a:cs typeface="Segoe UI"/>
              </a:rPr>
              <a:t>Lab exercise in the afternoon</a:t>
            </a:r>
          </a:p>
          <a:p>
            <a:endParaRPr lang="en-US" dirty="0"/>
          </a:p>
        </p:txBody>
      </p:sp>
    </p:spTree>
    <p:extLst>
      <p:ext uri="{BB962C8B-B14F-4D97-AF65-F5344CB8AC3E}">
        <p14:creationId xmlns:p14="http://schemas.microsoft.com/office/powerpoint/2010/main" val="11714460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0CCC6B-761E-41C2-B49A-BAFF18B49A36}"/>
              </a:ext>
            </a:extLst>
          </p:cNvPr>
          <p:cNvSpPr/>
          <p:nvPr/>
        </p:nvSpPr>
        <p:spPr>
          <a:xfrm>
            <a:off x="0" y="1792288"/>
            <a:ext cx="12192000" cy="3877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1EFE6B5-34E2-4444-8D34-82C27AF259D7}"/>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What to expect</a:t>
            </a:r>
          </a:p>
        </p:txBody>
      </p:sp>
      <p:sp>
        <p:nvSpPr>
          <p:cNvPr id="3" name="Text Placeholder 2">
            <a:extLst>
              <a:ext uri="{FF2B5EF4-FFF2-40B4-BE49-F238E27FC236}">
                <a16:creationId xmlns:a16="http://schemas.microsoft.com/office/drawing/2014/main" id="{CCB8E390-301B-4F6A-8FDA-DBCD66510B90}"/>
              </a:ext>
            </a:extLst>
          </p:cNvPr>
          <p:cNvSpPr>
            <a:spLocks noGrp="1"/>
          </p:cNvSpPr>
          <p:nvPr>
            <p:ph type="body" idx="1"/>
          </p:nvPr>
        </p:nvSpPr>
        <p:spPr>
          <a:xfrm>
            <a:off x="839788" y="1792288"/>
            <a:ext cx="5157787"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includes:  </a:t>
            </a:r>
          </a:p>
        </p:txBody>
      </p:sp>
      <p:sp>
        <p:nvSpPr>
          <p:cNvPr id="7" name="Content Placeholder 6">
            <a:extLst>
              <a:ext uri="{FF2B5EF4-FFF2-40B4-BE49-F238E27FC236}">
                <a16:creationId xmlns:a16="http://schemas.microsoft.com/office/drawing/2014/main" id="{BAEABFA2-6886-4059-8BDC-CEA47006EF42}"/>
              </a:ext>
            </a:extLst>
          </p:cNvPr>
          <p:cNvSpPr>
            <a:spLocks noGrp="1"/>
          </p:cNvSpPr>
          <p:nvPr>
            <p:ph sz="half" idx="2"/>
          </p:nvPr>
        </p:nvSpPr>
        <p:spPr>
          <a:xfrm>
            <a:off x="785358" y="2906034"/>
            <a:ext cx="4659475" cy="1593396"/>
          </a:xfrm>
        </p:spPr>
        <p:txBody>
          <a:bodyPr vert="horz" wrap="square" lIns="0" tIns="0" rIns="0" bIns="0" rtlCol="0" anchor="t">
            <a:normAutofit lnSpcReduction="10000"/>
          </a:bodyPr>
          <a:lstStyle/>
          <a:p>
            <a:pPr marL="457200" indent="-457200">
              <a:buClr>
                <a:schemeClr val="accent1"/>
              </a:buClr>
              <a:buFont typeface="Wingdings" panose="05000000000000000000" pitchFamily="2" charset="2"/>
              <a:buChar char="ü"/>
            </a:pPr>
            <a:r>
              <a:rPr lang="en-US" sz="2000" dirty="0">
                <a:latin typeface="Segoe UI"/>
                <a:cs typeface="Segoe UI"/>
              </a:rPr>
              <a:t>Content with documented use cases and discussion topics</a:t>
            </a:r>
            <a:endParaRPr lang="en-US" dirty="0"/>
          </a:p>
          <a:p>
            <a:pPr marL="457200" indent="-457200">
              <a:buClr>
                <a:schemeClr val="accent1"/>
              </a:buClr>
              <a:buFont typeface="Wingdings" panose="05000000000000000000" pitchFamily="2" charset="2"/>
              <a:buChar char="ü"/>
            </a:pPr>
            <a:r>
              <a:rPr lang="en-US" sz="2000" dirty="0">
                <a:latin typeface="Segoe UI"/>
                <a:cs typeface="Segoe UI"/>
              </a:rPr>
              <a:t>Documented exercises to follow along with the instructor</a:t>
            </a:r>
          </a:p>
          <a:p>
            <a:pPr marL="457200" indent="-457200">
              <a:buClr>
                <a:schemeClr val="accent1"/>
              </a:buClr>
              <a:buFont typeface="Wingdings" panose="05000000000000000000" pitchFamily="2" charset="2"/>
              <a:buChar char="ü"/>
            </a:pPr>
            <a:r>
              <a:rPr lang="en-US" sz="2000" dirty="0">
                <a:latin typeface="Segoe UI"/>
                <a:cs typeface="Segoe UI"/>
              </a:rPr>
              <a:t>Hands-on lab experience</a:t>
            </a:r>
            <a:endParaRPr lang="en-US" dirty="0"/>
          </a:p>
          <a:p>
            <a:pPr marL="457200" indent="-457200">
              <a:buClr>
                <a:schemeClr val="accent1"/>
              </a:buClr>
              <a:buFont typeface="Wingdings" panose="05000000000000000000" pitchFamily="2" charset="2"/>
              <a:buChar char="ü"/>
            </a:pPr>
            <a:endParaRPr lang="en-US" sz="2000" dirty="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FC9D6F49-F7B3-4D64-BDE7-39D4791C2624}"/>
              </a:ext>
            </a:extLst>
          </p:cNvPr>
          <p:cNvSpPr>
            <a:spLocks noGrp="1"/>
          </p:cNvSpPr>
          <p:nvPr>
            <p:ph type="body" sz="quarter" idx="3"/>
          </p:nvPr>
        </p:nvSpPr>
        <p:spPr>
          <a:xfrm>
            <a:off x="6552405" y="1792288"/>
            <a:ext cx="4919153"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does not include:</a:t>
            </a:r>
          </a:p>
        </p:txBody>
      </p:sp>
      <p:sp>
        <p:nvSpPr>
          <p:cNvPr id="9" name="Content Placeholder 8">
            <a:extLst>
              <a:ext uri="{FF2B5EF4-FFF2-40B4-BE49-F238E27FC236}">
                <a16:creationId xmlns:a16="http://schemas.microsoft.com/office/drawing/2014/main" id="{DEC298B1-8CEC-496A-A434-6778D0312A8B}"/>
              </a:ext>
            </a:extLst>
          </p:cNvPr>
          <p:cNvSpPr>
            <a:spLocks noGrp="1"/>
          </p:cNvSpPr>
          <p:nvPr>
            <p:ph sz="quarter" idx="4"/>
          </p:nvPr>
        </p:nvSpPr>
        <p:spPr>
          <a:xfrm>
            <a:off x="6552406" y="3044713"/>
            <a:ext cx="3930537" cy="1316038"/>
          </a:xfrm>
        </p:spPr>
        <p:txBody>
          <a:bodyPr vert="horz" wrap="square" lIns="0" tIns="0" rIns="0" bIns="0" rtlCol="0" anchor="t">
            <a:normAutofit lnSpcReduction="10000"/>
          </a:bodyPr>
          <a:lstStyle/>
          <a:p>
            <a:pPr marL="407670" lvl="0" indent="-342900">
              <a:buClr>
                <a:srgbClr val="4472C4"/>
              </a:buClr>
              <a:buSzPct val="107000"/>
              <a:buFont typeface="Segoe UI" panose="020B0502040204020203" pitchFamily="34" charset="0"/>
              <a:buChar char="×"/>
            </a:pPr>
            <a:r>
              <a:rPr lang="en-US" sz="2000" dirty="0">
                <a:latin typeface="Segoe UI"/>
                <a:cs typeface="Segoe UI"/>
              </a:rPr>
              <a:t>Shared hands-on lab environment (aka </a:t>
            </a:r>
            <a:r>
              <a:rPr lang="en-US" sz="2000" err="1">
                <a:latin typeface="Segoe UI"/>
                <a:cs typeface="Segoe UI"/>
              </a:rPr>
              <a:t>OpenHack</a:t>
            </a:r>
            <a:r>
              <a:rPr lang="en-US" sz="2000" dirty="0">
                <a:latin typeface="Segoe UI"/>
                <a:cs typeface="Segoe UI"/>
              </a:rPr>
              <a:t>)</a:t>
            </a:r>
            <a:endParaRPr lang="en-US" dirty="0">
              <a:latin typeface="Segoe UI"/>
              <a:cs typeface="Segoe UI"/>
            </a:endParaRPr>
          </a:p>
          <a:p>
            <a:pPr marL="407670" indent="-342900">
              <a:buClr>
                <a:srgbClr val="4472C4"/>
              </a:buClr>
              <a:buSzPct val="107000"/>
              <a:buFont typeface="Segoe UI" panose="020B0502040204020203" pitchFamily="34" charset="0"/>
              <a:buChar char="×"/>
            </a:pPr>
            <a:r>
              <a:rPr lang="en-US" sz="2000" dirty="0">
                <a:latin typeface="Segoe UI"/>
                <a:cs typeface="Segoe UI"/>
              </a:rPr>
              <a:t>Lecture without interaction</a:t>
            </a:r>
            <a:endParaRPr lang="en-US" sz="2000" dirty="0">
              <a:latin typeface="Segoe UI" panose="020B0502040204020203" pitchFamily="34" charset="0"/>
              <a:cs typeface="Segoe UI" panose="020B0502040204020203" pitchFamily="34" charset="0"/>
            </a:endParaRPr>
          </a:p>
          <a:p>
            <a:pPr marL="407670" indent="-342900">
              <a:buClr>
                <a:srgbClr val="4472C4"/>
              </a:buClr>
              <a:buSzPct val="107000"/>
              <a:buFont typeface="Segoe UI" panose="020B0502040204020203" pitchFamily="34" charset="0"/>
              <a:buChar char="×"/>
            </a:pPr>
            <a:endParaRPr lang="en-US" sz="2000" dirty="0">
              <a:latin typeface="Segoe UI" panose="020B0502040204020203" pitchFamily="34" charset="0"/>
            </a:endParaRPr>
          </a:p>
          <a:p>
            <a:pPr marL="0" indent="0">
              <a:buNone/>
            </a:pPr>
            <a:endParaRPr lang="en-US">
              <a:latin typeface="Segoe UI" panose="020B0502040204020203" pitchFamily="34" charset="0"/>
            </a:endParaRPr>
          </a:p>
        </p:txBody>
      </p:sp>
      <p:cxnSp>
        <p:nvCxnSpPr>
          <p:cNvPr id="11" name="Straight Connector 10">
            <a:extLst>
              <a:ext uri="{FF2B5EF4-FFF2-40B4-BE49-F238E27FC236}">
                <a16:creationId xmlns:a16="http://schemas.microsoft.com/office/drawing/2014/main" id="{B43FB16C-DFFD-4B98-9CDA-7E1B278C6659}"/>
              </a:ext>
              <a:ext uri="{C183D7F6-B498-43B3-948B-1728B52AA6E4}">
                <adec:decorative xmlns:adec="http://schemas.microsoft.com/office/drawing/2017/decorative" val="1"/>
              </a:ext>
            </a:extLst>
          </p:cNvPr>
          <p:cNvCxnSpPr>
            <a:cxnSpLocks/>
          </p:cNvCxnSpPr>
          <p:nvPr/>
        </p:nvCxnSpPr>
        <p:spPr>
          <a:xfrm>
            <a:off x="6096000" y="2331132"/>
            <a:ext cx="0" cy="2743200"/>
          </a:xfrm>
          <a:prstGeom prst="line">
            <a:avLst/>
          </a:prstGeom>
          <a:ln>
            <a:solidFill>
              <a:srgbClr val="4472C4"/>
            </a:solidFill>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509461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E8F8E-8AB3-8B85-39AE-98837F46EC4B}"/>
              </a:ext>
            </a:extLst>
          </p:cNvPr>
          <p:cNvSpPr>
            <a:spLocks noGrp="1"/>
          </p:cNvSpPr>
          <p:nvPr>
            <p:ph type="title"/>
          </p:nvPr>
        </p:nvSpPr>
        <p:spPr>
          <a:xfrm>
            <a:off x="588263" y="457200"/>
            <a:ext cx="11018520" cy="553998"/>
          </a:xfrm>
        </p:spPr>
        <p:txBody>
          <a:bodyPr wrap="square" anchor="t">
            <a:normAutofit/>
          </a:bodyPr>
          <a:lstStyle/>
          <a:p>
            <a:r>
              <a:rPr lang="en-US"/>
              <a:t>Programmatic Deployment of Marketplace products</a:t>
            </a:r>
            <a:endParaRPr lang="en-US" dirty="0"/>
          </a:p>
        </p:txBody>
      </p:sp>
      <p:graphicFrame>
        <p:nvGraphicFramePr>
          <p:cNvPr id="5" name="Content Placeholder 2">
            <a:extLst>
              <a:ext uri="{FF2B5EF4-FFF2-40B4-BE49-F238E27FC236}">
                <a16:creationId xmlns:a16="http://schemas.microsoft.com/office/drawing/2014/main" id="{7C56FF18-D543-A9E2-E639-54200B4A4673}"/>
              </a:ext>
            </a:extLst>
          </p:cNvPr>
          <p:cNvGraphicFramePr>
            <a:graphicFrameLocks noGrp="1"/>
          </p:cNvGraphicFramePr>
          <p:nvPr>
            <p:ph sz="quarter" idx="10"/>
            <p:extLst>
              <p:ext uri="{D42A27DB-BD31-4B8C-83A1-F6EECF244321}">
                <p14:modId xmlns:p14="http://schemas.microsoft.com/office/powerpoint/2010/main" val="203116356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017816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A1FEB-4EBD-088C-B102-3A5E0A53F311}"/>
              </a:ext>
            </a:extLst>
          </p:cNvPr>
          <p:cNvSpPr>
            <a:spLocks noGrp="1"/>
          </p:cNvSpPr>
          <p:nvPr>
            <p:ph type="title"/>
          </p:nvPr>
        </p:nvSpPr>
        <p:spPr>
          <a:xfrm>
            <a:off x="588263" y="457200"/>
            <a:ext cx="11018520" cy="553998"/>
          </a:xfrm>
        </p:spPr>
        <p:txBody>
          <a:bodyPr wrap="square" anchor="t">
            <a:normAutofit/>
          </a:bodyPr>
          <a:lstStyle/>
          <a:p>
            <a:r>
              <a:rPr lang="en-US"/>
              <a:t>SaaS Subscription Management</a:t>
            </a:r>
          </a:p>
        </p:txBody>
      </p:sp>
      <p:graphicFrame>
        <p:nvGraphicFramePr>
          <p:cNvPr id="7" name="Content Placeholder 2">
            <a:extLst>
              <a:ext uri="{FF2B5EF4-FFF2-40B4-BE49-F238E27FC236}">
                <a16:creationId xmlns:a16="http://schemas.microsoft.com/office/drawing/2014/main" id="{3A80CE1E-78CC-6677-9E1F-AD6A51F41468}"/>
              </a:ext>
            </a:extLst>
          </p:cNvPr>
          <p:cNvGraphicFramePr>
            <a:graphicFrameLocks noGrp="1"/>
          </p:cNvGraphicFramePr>
          <p:nvPr>
            <p:ph sz="quarter" idx="13"/>
            <p:extLst>
              <p:ext uri="{D42A27DB-BD31-4B8C-83A1-F6EECF244321}">
                <p14:modId xmlns:p14="http://schemas.microsoft.com/office/powerpoint/2010/main" val="4100954926"/>
              </p:ext>
            </p:extLst>
          </p:nvPr>
        </p:nvGraphicFramePr>
        <p:xfrm>
          <a:off x="2462457" y="1425331"/>
          <a:ext cx="7271239"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3757026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FC35A-DEE7-5F87-B579-666027F7AA8A}"/>
              </a:ext>
            </a:extLst>
          </p:cNvPr>
          <p:cNvSpPr>
            <a:spLocks noGrp="1"/>
          </p:cNvSpPr>
          <p:nvPr>
            <p:ph type="title"/>
          </p:nvPr>
        </p:nvSpPr>
        <p:spPr/>
        <p:txBody>
          <a:bodyPr/>
          <a:lstStyle/>
          <a:p>
            <a:r>
              <a:rPr lang="en-US">
                <a:cs typeface="Segoe UI"/>
              </a:rPr>
              <a:t>Billing and Invoicing</a:t>
            </a:r>
            <a:endParaRPr lang="en-US"/>
          </a:p>
        </p:txBody>
      </p:sp>
      <p:sp>
        <p:nvSpPr>
          <p:cNvPr id="3" name="Content Placeholder 2">
            <a:extLst>
              <a:ext uri="{FF2B5EF4-FFF2-40B4-BE49-F238E27FC236}">
                <a16:creationId xmlns:a16="http://schemas.microsoft.com/office/drawing/2014/main" id="{6EC7CC27-14D6-DF5B-9E38-E7E4DDE94B23}"/>
              </a:ext>
            </a:extLst>
          </p:cNvPr>
          <p:cNvSpPr>
            <a:spLocks noGrp="1"/>
          </p:cNvSpPr>
          <p:nvPr>
            <p:ph sz="quarter" idx="10"/>
          </p:nvPr>
        </p:nvSpPr>
        <p:spPr>
          <a:xfrm>
            <a:off x="584200" y="1435100"/>
            <a:ext cx="11018838" cy="3028521"/>
          </a:xfrm>
        </p:spPr>
        <p:txBody>
          <a:bodyPr vert="horz" wrap="square" lIns="0" tIns="0" rIns="0" bIns="0" rtlCol="0" anchor="t">
            <a:spAutoFit/>
          </a:bodyPr>
          <a:lstStyle/>
          <a:p>
            <a:r>
              <a:rPr lang="en-US" dirty="0">
                <a:cs typeface="Segoe UI"/>
              </a:rPr>
              <a:t>Multiple currencies are supported</a:t>
            </a:r>
          </a:p>
          <a:p>
            <a:r>
              <a:rPr lang="en-US" dirty="0">
                <a:cs typeface="Segoe UI"/>
              </a:rPr>
              <a:t>Recurring billing and auto-renew</a:t>
            </a:r>
          </a:p>
          <a:p>
            <a:r>
              <a:rPr lang="en-US" dirty="0">
                <a:cs typeface="Segoe UI"/>
              </a:rPr>
              <a:t>Invoices are emailed monthly</a:t>
            </a:r>
          </a:p>
          <a:p>
            <a:pPr lvl="1"/>
            <a:r>
              <a:rPr lang="en-US" dirty="0">
                <a:cs typeface="Segoe UI"/>
              </a:rPr>
              <a:t>Enterprise Agreement customers receive a combined Azure consumption and Marketplace invoice</a:t>
            </a:r>
          </a:p>
          <a:p>
            <a:pPr lvl="1"/>
            <a:r>
              <a:rPr lang="en-US" dirty="0">
                <a:cs typeface="Segoe UI"/>
              </a:rPr>
              <a:t>Azure Marketplace customers receive a bill only from Marketplace</a:t>
            </a:r>
          </a:p>
          <a:p>
            <a:r>
              <a:rPr lang="en-US" dirty="0">
                <a:cs typeface="Segoe UI"/>
              </a:rPr>
              <a:t>Charges are calculated on the date of purchase</a:t>
            </a:r>
          </a:p>
        </p:txBody>
      </p:sp>
    </p:spTree>
    <p:extLst>
      <p:ext uri="{BB962C8B-B14F-4D97-AF65-F5344CB8AC3E}">
        <p14:creationId xmlns:p14="http://schemas.microsoft.com/office/powerpoint/2010/main" val="419660011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265E9-9755-13A6-D1C8-681FCFAFDB05}"/>
              </a:ext>
            </a:extLst>
          </p:cNvPr>
          <p:cNvSpPr>
            <a:spLocks noGrp="1"/>
          </p:cNvSpPr>
          <p:nvPr>
            <p:ph type="title"/>
          </p:nvPr>
        </p:nvSpPr>
        <p:spPr/>
        <p:txBody>
          <a:bodyPr/>
          <a:lstStyle/>
          <a:p>
            <a:r>
              <a:rPr lang="en-US">
                <a:cs typeface="Segoe UI"/>
              </a:rPr>
              <a:t>Consumption Benefits</a:t>
            </a:r>
            <a:endParaRPr lang="en-US"/>
          </a:p>
        </p:txBody>
      </p:sp>
      <p:sp>
        <p:nvSpPr>
          <p:cNvPr id="3" name="Content Placeholder 2">
            <a:extLst>
              <a:ext uri="{FF2B5EF4-FFF2-40B4-BE49-F238E27FC236}">
                <a16:creationId xmlns:a16="http://schemas.microsoft.com/office/drawing/2014/main" id="{3BD5A719-71A7-F7FF-601F-652524A2B61E}"/>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159379714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D6B115-54CA-49B3-1D91-C2B049F34ED1}"/>
              </a:ext>
            </a:extLst>
          </p:cNvPr>
          <p:cNvSpPr>
            <a:spLocks noGrp="1"/>
          </p:cNvSpPr>
          <p:nvPr>
            <p:ph type="title"/>
          </p:nvPr>
        </p:nvSpPr>
        <p:spPr/>
        <p:txBody>
          <a:bodyPr/>
          <a:lstStyle/>
          <a:p>
            <a:r>
              <a:rPr lang="en-US">
                <a:cs typeface="Segoe UI"/>
              </a:rPr>
              <a:t>Subscription Transfers</a:t>
            </a:r>
            <a:endParaRPr lang="en-US"/>
          </a:p>
        </p:txBody>
      </p:sp>
      <p:sp>
        <p:nvSpPr>
          <p:cNvPr id="3" name="Content Placeholder 2">
            <a:extLst>
              <a:ext uri="{FF2B5EF4-FFF2-40B4-BE49-F238E27FC236}">
                <a16:creationId xmlns:a16="http://schemas.microsoft.com/office/drawing/2014/main" id="{201E1365-93FF-B6D4-E7D9-75C95808C054}"/>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108328312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A5204-DC92-084D-2C0F-8862EE432163}"/>
              </a:ext>
            </a:extLst>
          </p:cNvPr>
          <p:cNvSpPr>
            <a:spLocks noGrp="1"/>
          </p:cNvSpPr>
          <p:nvPr>
            <p:ph type="title"/>
          </p:nvPr>
        </p:nvSpPr>
        <p:spPr>
          <a:xfrm>
            <a:off x="585216" y="2930402"/>
            <a:ext cx="9144000" cy="997196"/>
          </a:xfrm>
        </p:spPr>
        <p:txBody>
          <a:bodyPr/>
          <a:lstStyle/>
          <a:p>
            <a:r>
              <a:rPr lang="en-US">
                <a:cs typeface="Segoe UI"/>
              </a:rPr>
              <a:t>Afternoon:</a:t>
            </a:r>
            <a:br>
              <a:rPr lang="en-US">
                <a:cs typeface="Segoe UI"/>
              </a:rPr>
            </a:br>
            <a:r>
              <a:rPr lang="en-US">
                <a:cs typeface="Segoe UI"/>
              </a:rPr>
              <a:t>Hands-on Labs</a:t>
            </a:r>
            <a:endParaRPr lang="en-US"/>
          </a:p>
        </p:txBody>
      </p:sp>
    </p:spTree>
    <p:extLst>
      <p:ext uri="{BB962C8B-B14F-4D97-AF65-F5344CB8AC3E}">
        <p14:creationId xmlns:p14="http://schemas.microsoft.com/office/powerpoint/2010/main" val="81838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E6974-9FE8-E329-D3B0-306E220289A4}"/>
              </a:ext>
            </a:extLst>
          </p:cNvPr>
          <p:cNvSpPr>
            <a:spLocks noGrp="1"/>
          </p:cNvSpPr>
          <p:nvPr>
            <p:ph type="title"/>
          </p:nvPr>
        </p:nvSpPr>
        <p:spPr/>
        <p:txBody>
          <a:bodyPr/>
          <a:lstStyle/>
          <a:p>
            <a:r>
              <a:rPr lang="en-US">
                <a:cs typeface="Segoe UI"/>
              </a:rPr>
              <a:t>Labs</a:t>
            </a:r>
            <a:endParaRPr lang="en-US"/>
          </a:p>
        </p:txBody>
      </p:sp>
      <p:sp>
        <p:nvSpPr>
          <p:cNvPr id="3" name="Content Placeholder 2">
            <a:extLst>
              <a:ext uri="{FF2B5EF4-FFF2-40B4-BE49-F238E27FC236}">
                <a16:creationId xmlns:a16="http://schemas.microsoft.com/office/drawing/2014/main" id="{23A1A54E-6325-B210-02CE-A6FEE92CB668}"/>
              </a:ext>
            </a:extLst>
          </p:cNvPr>
          <p:cNvSpPr>
            <a:spLocks noGrp="1"/>
          </p:cNvSpPr>
          <p:nvPr>
            <p:ph sz="quarter" idx="10"/>
          </p:nvPr>
        </p:nvSpPr>
        <p:spPr>
          <a:xfrm>
            <a:off x="584200" y="1435100"/>
            <a:ext cx="11018838" cy="1982081"/>
          </a:xfrm>
        </p:spPr>
        <p:txBody>
          <a:bodyPr vert="horz" wrap="square" lIns="0" tIns="0" rIns="0" bIns="0" rtlCol="0" anchor="t">
            <a:spAutoFit/>
          </a:bodyPr>
          <a:lstStyle/>
          <a:p>
            <a:r>
              <a:rPr lang="en-US" dirty="0">
                <a:cs typeface="Segoe UI"/>
              </a:rPr>
              <a:t>Purchase and Deploy an Azure Application</a:t>
            </a:r>
          </a:p>
          <a:p>
            <a:r>
              <a:rPr lang="en-US" dirty="0">
                <a:cs typeface="Segoe UI"/>
              </a:rPr>
              <a:t>Deploying Azure Resources</a:t>
            </a:r>
            <a:endParaRPr lang="en-US" dirty="0"/>
          </a:p>
          <a:p>
            <a:r>
              <a:rPr lang="en-US" dirty="0">
                <a:cs typeface="Segoe UI"/>
              </a:rPr>
              <a:t>Deploying SaaS offering</a:t>
            </a:r>
          </a:p>
          <a:p>
            <a:r>
              <a:rPr lang="en-US" dirty="0">
                <a:cs typeface="Segoe UI"/>
              </a:rPr>
              <a:t>Deploying third-party resources</a:t>
            </a:r>
            <a:endParaRPr lang="en-US" dirty="0"/>
          </a:p>
        </p:txBody>
      </p:sp>
    </p:spTree>
    <p:extLst>
      <p:ext uri="{BB962C8B-B14F-4D97-AF65-F5344CB8AC3E}">
        <p14:creationId xmlns:p14="http://schemas.microsoft.com/office/powerpoint/2010/main" val="376318981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Application</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1465016"/>
          </a:xfrm>
        </p:spPr>
        <p:txBody>
          <a:bodyPr vert="horz" wrap="square" lIns="0" tIns="0" rIns="0" bIns="0" rtlCol="0" anchor="t">
            <a:spAutoFit/>
          </a:bodyPr>
          <a:lstStyle/>
          <a:p>
            <a:r>
              <a:rPr lang="en-US" dirty="0">
                <a:cs typeface="Segoe UI"/>
              </a:rPr>
              <a:t>Lab exercise</a:t>
            </a:r>
            <a:endParaRPr lang="en-US" dirty="0"/>
          </a:p>
          <a:p>
            <a:r>
              <a:rPr lang="en-US" dirty="0">
                <a:cs typeface="Segoe UI"/>
              </a:rPr>
              <a:t>Lab to be created in markdown</a:t>
            </a:r>
          </a:p>
          <a:p>
            <a:endParaRPr lang="en-US" dirty="0"/>
          </a:p>
        </p:txBody>
      </p:sp>
    </p:spTree>
    <p:extLst>
      <p:ext uri="{BB962C8B-B14F-4D97-AF65-F5344CB8AC3E}">
        <p14:creationId xmlns:p14="http://schemas.microsoft.com/office/powerpoint/2010/main" val="354332048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Virtual Machine</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Lab exercise </a:t>
            </a:r>
          </a:p>
          <a:p>
            <a:r>
              <a:rPr lang="en-US" dirty="0">
                <a:cs typeface="Segoe UI"/>
              </a:rPr>
              <a:t>Lab to be created in markdown</a:t>
            </a:r>
            <a:endParaRPr lang="en-US" dirty="0"/>
          </a:p>
        </p:txBody>
      </p:sp>
    </p:spTree>
    <p:extLst>
      <p:ext uri="{BB962C8B-B14F-4D97-AF65-F5344CB8AC3E}">
        <p14:creationId xmlns:p14="http://schemas.microsoft.com/office/powerpoint/2010/main" val="163747295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B2EE4-07A0-D158-D22F-B55E61E4F006}"/>
              </a:ext>
            </a:extLst>
          </p:cNvPr>
          <p:cNvSpPr>
            <a:spLocks noGrp="1"/>
          </p:cNvSpPr>
          <p:nvPr>
            <p:ph type="title"/>
          </p:nvPr>
        </p:nvSpPr>
        <p:spPr>
          <a:xfrm>
            <a:off x="588263" y="457200"/>
            <a:ext cx="11018520" cy="553998"/>
          </a:xfrm>
        </p:spPr>
        <p:txBody>
          <a:bodyPr/>
          <a:lstStyle/>
          <a:p>
            <a:r>
              <a:rPr lang="en-US">
                <a:cs typeface="Segoe UI Semibold"/>
              </a:rPr>
              <a:t>Purchase and Subscribe to a SaaS offer</a:t>
            </a:r>
          </a:p>
        </p:txBody>
      </p:sp>
      <p:sp>
        <p:nvSpPr>
          <p:cNvPr id="3" name="Content Placeholder 2">
            <a:extLst>
              <a:ext uri="{FF2B5EF4-FFF2-40B4-BE49-F238E27FC236}">
                <a16:creationId xmlns:a16="http://schemas.microsoft.com/office/drawing/2014/main" id="{85C97FA8-BE0A-E10E-33B0-9E19F185EBA4}"/>
              </a:ext>
            </a:extLst>
          </p:cNvPr>
          <p:cNvSpPr>
            <a:spLocks noGrp="1"/>
          </p:cNvSpPr>
          <p:nvPr>
            <p:ph sz="quarter" idx="10"/>
          </p:nvPr>
        </p:nvSpPr>
        <p:spPr>
          <a:xfrm>
            <a:off x="584200" y="1435100"/>
            <a:ext cx="11018838" cy="1982081"/>
          </a:xfrm>
        </p:spPr>
        <p:txBody>
          <a:bodyPr vert="horz" wrap="square" lIns="0" tIns="0" rIns="0" bIns="0" rtlCol="0" anchor="t">
            <a:spAutoFit/>
          </a:bodyPr>
          <a:lstStyle/>
          <a:p>
            <a:r>
              <a:rPr lang="en-US" dirty="0">
                <a:cs typeface="Segoe UI"/>
              </a:rPr>
              <a:t>Lab exercise </a:t>
            </a:r>
            <a:endParaRPr lang="en-US"/>
          </a:p>
          <a:p>
            <a:r>
              <a:rPr lang="en-US" dirty="0">
                <a:cs typeface="Segoe UI"/>
              </a:rPr>
              <a:t>Lab to be created in markdown</a:t>
            </a:r>
          </a:p>
          <a:p>
            <a:endParaRPr lang="en-US" dirty="0"/>
          </a:p>
          <a:p>
            <a:endParaRPr lang="en-US" dirty="0"/>
          </a:p>
        </p:txBody>
      </p:sp>
    </p:spTree>
    <p:extLst>
      <p:ext uri="{BB962C8B-B14F-4D97-AF65-F5344CB8AC3E}">
        <p14:creationId xmlns:p14="http://schemas.microsoft.com/office/powerpoint/2010/main" val="17429747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A76A25-0FDA-3E13-F3C0-3A6315421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EA76A25-0FDA-3E13-F3C0-3A6315421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BDC4CFE-BCC4-DF0A-B73A-86DADF57C607}"/>
              </a:ext>
            </a:extLst>
          </p:cNvPr>
          <p:cNvSpPr/>
          <p:nvPr/>
        </p:nvSpPr>
        <p:spPr bwMode="auto">
          <a:xfrm flipH="1">
            <a:off x="8023122" y="292100"/>
            <a:ext cx="4168877" cy="6565900"/>
          </a:xfrm>
          <a:prstGeom prst="round1Rect">
            <a:avLst>
              <a:gd name="adj" fmla="val 5009"/>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Rectangle: Top Corners Rounded 1">
            <a:extLst>
              <a:ext uri="{FF2B5EF4-FFF2-40B4-BE49-F238E27FC236}">
                <a16:creationId xmlns:a16="http://schemas.microsoft.com/office/drawing/2014/main" id="{AD8A4A21-7957-6BF3-8AA5-D8826A66E7DA}"/>
              </a:ext>
            </a:extLst>
          </p:cNvPr>
          <p:cNvSpPr/>
          <p:nvPr/>
        </p:nvSpPr>
        <p:spPr bwMode="auto">
          <a:xfrm rot="5400000">
            <a:off x="-1485900"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Background pattern&#10;&#10;Description automatically generated">
            <a:extLst>
              <a:ext uri="{FF2B5EF4-FFF2-40B4-BE49-F238E27FC236}">
                <a16:creationId xmlns:a16="http://schemas.microsoft.com/office/drawing/2014/main" id="{40AAB784-6E2F-E05F-E3E5-3BCC3C4EF7D7}"/>
              </a:ext>
            </a:extLst>
          </p:cNvPr>
          <p:cNvPicPr>
            <a:picLocks noChangeAspect="1"/>
          </p:cNvPicPr>
          <p:nvPr/>
        </p:nvPicPr>
        <p:blipFill rotWithShape="1">
          <a:blip r:embed="rId7"/>
          <a:srcRect l="34609" r="34609"/>
          <a:stretch/>
        </p:blipFill>
        <p:spPr>
          <a:xfrm>
            <a:off x="0" y="1"/>
            <a:ext cx="3752850" cy="6857999"/>
          </a:xfrm>
          <a:custGeom>
            <a:avLst/>
            <a:gdLst>
              <a:gd name="connsiteX0" fmla="*/ 0 w 3752850"/>
              <a:gd name="connsiteY0" fmla="*/ 0 h 6857999"/>
              <a:gd name="connsiteX1" fmla="*/ 3506851 w 3752850"/>
              <a:gd name="connsiteY1" fmla="*/ 0 h 6857999"/>
              <a:gd name="connsiteX2" fmla="*/ 3752850 w 3752850"/>
              <a:gd name="connsiteY2" fmla="*/ 245999 h 6857999"/>
              <a:gd name="connsiteX3" fmla="*/ 3752850 w 3752850"/>
              <a:gd name="connsiteY3" fmla="*/ 6612001 h 6857999"/>
              <a:gd name="connsiteX4" fmla="*/ 3556429 w 3752850"/>
              <a:gd name="connsiteY4" fmla="*/ 6853002 h 6857999"/>
              <a:gd name="connsiteX5" fmla="*/ 3506861 w 3752850"/>
              <a:gd name="connsiteY5" fmla="*/ 6857999 h 6857999"/>
              <a:gd name="connsiteX6" fmla="*/ 0 w 375285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2850" h="6857999">
                <a:moveTo>
                  <a:pt x="0" y="0"/>
                </a:moveTo>
                <a:lnTo>
                  <a:pt x="3506851" y="0"/>
                </a:lnTo>
                <a:cubicBezTo>
                  <a:pt x="3642712" y="0"/>
                  <a:pt x="3752850" y="110138"/>
                  <a:pt x="3752850" y="245999"/>
                </a:cubicBezTo>
                <a:lnTo>
                  <a:pt x="3752850" y="6612001"/>
                </a:lnTo>
                <a:cubicBezTo>
                  <a:pt x="3752850" y="6730880"/>
                  <a:pt x="3668526" y="6830064"/>
                  <a:pt x="3556429" y="6853002"/>
                </a:cubicBezTo>
                <a:lnTo>
                  <a:pt x="3506861" y="6857999"/>
                </a:lnTo>
                <a:lnTo>
                  <a:pt x="0" y="6857999"/>
                </a:lnTo>
                <a:close/>
              </a:path>
            </a:pathLst>
          </a:custGeom>
        </p:spPr>
      </p:pic>
      <p:sp>
        <p:nvSpPr>
          <p:cNvPr id="7" name="Title 3" descr="PRE-CALL: Agenda. Coach and Team Lead​ pre-workshop call ">
            <a:extLst>
              <a:ext uri="{FF2B5EF4-FFF2-40B4-BE49-F238E27FC236}">
                <a16:creationId xmlns:a16="http://schemas.microsoft.com/office/drawing/2014/main" id="{7BF5FCCE-F384-EED5-6A36-45F100E181C8}"/>
              </a:ext>
            </a:extLst>
          </p:cNvPr>
          <p:cNvSpPr txBox="1">
            <a:spLocks/>
          </p:cNvSpPr>
          <p:nvPr/>
        </p:nvSpPr>
        <p:spPr>
          <a:xfrm>
            <a:off x="588263" y="2895600"/>
            <a:ext cx="216763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a:lstStyle>
          <a:p>
            <a:r>
              <a:rPr lang="en-IN">
                <a:solidFill>
                  <a:schemeClr val="bg1"/>
                </a:solidFill>
              </a:rPr>
              <a:t>Agenda</a:t>
            </a:r>
          </a:p>
        </p:txBody>
      </p:sp>
      <p:graphicFrame>
        <p:nvGraphicFramePr>
          <p:cNvPr id="8" name="Table 7">
            <a:extLst>
              <a:ext uri="{FF2B5EF4-FFF2-40B4-BE49-F238E27FC236}">
                <a16:creationId xmlns:a16="http://schemas.microsoft.com/office/drawing/2014/main" id="{CC919F4A-A7D9-8DDD-DB16-BF7FF8DD9E3B}"/>
              </a:ext>
            </a:extLst>
          </p:cNvPr>
          <p:cNvGraphicFramePr>
            <a:graphicFrameLocks noGrp="1"/>
          </p:cNvGraphicFramePr>
          <p:nvPr>
            <p:extLst>
              <p:ext uri="{D42A27DB-BD31-4B8C-83A1-F6EECF244321}">
                <p14:modId xmlns:p14="http://schemas.microsoft.com/office/powerpoint/2010/main" val="1014208434"/>
              </p:ext>
            </p:extLst>
          </p:nvPr>
        </p:nvGraphicFramePr>
        <p:xfrm>
          <a:off x="4027715" y="143005"/>
          <a:ext cx="8097611" cy="3005328"/>
        </p:xfrm>
        <a:graphic>
          <a:graphicData uri="http://schemas.openxmlformats.org/drawingml/2006/table">
            <a:tbl>
              <a:tblPr/>
              <a:tblGrid>
                <a:gridCol w="1977374">
                  <a:extLst>
                    <a:ext uri="{9D8B030D-6E8A-4147-A177-3AD203B41FA5}">
                      <a16:colId xmlns:a16="http://schemas.microsoft.com/office/drawing/2014/main" val="1070106141"/>
                    </a:ext>
                  </a:extLst>
                </a:gridCol>
                <a:gridCol w="2288438">
                  <a:extLst>
                    <a:ext uri="{9D8B030D-6E8A-4147-A177-3AD203B41FA5}">
                      <a16:colId xmlns:a16="http://schemas.microsoft.com/office/drawing/2014/main" val="1928585651"/>
                    </a:ext>
                  </a:extLst>
                </a:gridCol>
                <a:gridCol w="3831799">
                  <a:extLst>
                    <a:ext uri="{9D8B030D-6E8A-4147-A177-3AD203B41FA5}">
                      <a16:colId xmlns:a16="http://schemas.microsoft.com/office/drawing/2014/main" val="4174341124"/>
                    </a:ext>
                  </a:extLst>
                </a:gridCol>
              </a:tblGrid>
              <a:tr h="0">
                <a:tc>
                  <a:txBody>
                    <a:bodyPr/>
                    <a:lstStyle/>
                    <a:p>
                      <a:pPr algn="l" fontAlgn="b"/>
                      <a:r>
                        <a:rPr lang="en-US" b="1" dirty="0">
                          <a:solidFill>
                            <a:schemeClr val="bg1"/>
                          </a:solidFill>
                          <a:latin typeface="+mn-lt"/>
                        </a:rPr>
                        <a:t>Day On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algn="l">
                        <a:buNone/>
                      </a:pPr>
                      <a:endParaRPr lang="en-US" sz="1800" b="1" kern="1200" dirty="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US" b="1" dirty="0">
                        <a:solidFill>
                          <a:schemeClr val="bg1"/>
                        </a:solidFill>
                        <a:latin typeface="+mn-lt"/>
                      </a:endParaRP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dirty="0">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Kick-off and overvie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dirty="0">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hat is Microsoft Azure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algn="l" fontAlgn="b"/>
                      <a:r>
                        <a:rPr lang="en-US" sz="1600" b="1" dirty="0">
                          <a:solidFill>
                            <a:schemeClr val="tx1"/>
                          </a:solidFill>
                        </a:rPr>
                        <a:t>10: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9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Purchasing in Azure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dirty="0">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dirty="0">
                          <a:solidFill>
                            <a:schemeClr val="tx2"/>
                          </a:solidFill>
                          <a:latin typeface="Segoe UI"/>
                        </a:rPr>
                        <a:t>Lunch </a:t>
                      </a:r>
                      <a:endParaRPr lang="en-US" sz="1600" dirty="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dirty="0">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16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Labs – Deployment of resources and SaaS offerings through the Marketplace</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dirty="0">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Wrap-up – General Channel </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bl>
          </a:graphicData>
        </a:graphic>
      </p:graphicFrame>
      <p:graphicFrame>
        <p:nvGraphicFramePr>
          <p:cNvPr id="11" name="Table 10">
            <a:extLst>
              <a:ext uri="{FF2B5EF4-FFF2-40B4-BE49-F238E27FC236}">
                <a16:creationId xmlns:a16="http://schemas.microsoft.com/office/drawing/2014/main" id="{A52E73B0-7A2A-ED30-FEF2-D5B76028305D}"/>
              </a:ext>
            </a:extLst>
          </p:cNvPr>
          <p:cNvGraphicFramePr>
            <a:graphicFrameLocks noGrp="1"/>
          </p:cNvGraphicFramePr>
          <p:nvPr>
            <p:extLst>
              <p:ext uri="{D42A27DB-BD31-4B8C-83A1-F6EECF244321}">
                <p14:modId xmlns:p14="http://schemas.microsoft.com/office/powerpoint/2010/main" val="1498839789"/>
              </p:ext>
            </p:extLst>
          </p:nvPr>
        </p:nvGraphicFramePr>
        <p:xfrm>
          <a:off x="4027715" y="3242233"/>
          <a:ext cx="8117153" cy="3493008"/>
        </p:xfrm>
        <a:graphic>
          <a:graphicData uri="http://schemas.openxmlformats.org/drawingml/2006/table">
            <a:tbl>
              <a:tblPr/>
              <a:tblGrid>
                <a:gridCol w="1982146">
                  <a:extLst>
                    <a:ext uri="{9D8B030D-6E8A-4147-A177-3AD203B41FA5}">
                      <a16:colId xmlns:a16="http://schemas.microsoft.com/office/drawing/2014/main" val="1070106141"/>
                    </a:ext>
                  </a:extLst>
                </a:gridCol>
                <a:gridCol w="2293961">
                  <a:extLst>
                    <a:ext uri="{9D8B030D-6E8A-4147-A177-3AD203B41FA5}">
                      <a16:colId xmlns:a16="http://schemas.microsoft.com/office/drawing/2014/main" val="1928585651"/>
                    </a:ext>
                  </a:extLst>
                </a:gridCol>
                <a:gridCol w="3841046">
                  <a:extLst>
                    <a:ext uri="{9D8B030D-6E8A-4147-A177-3AD203B41FA5}">
                      <a16:colId xmlns:a16="http://schemas.microsoft.com/office/drawing/2014/main" val="4174341124"/>
                    </a:ext>
                  </a:extLst>
                </a:gridCol>
              </a:tblGrid>
              <a:tr h="0">
                <a:tc>
                  <a:txBody>
                    <a:bodyPr/>
                    <a:lstStyle/>
                    <a:p>
                      <a:pPr algn="l" fontAlgn="b"/>
                      <a:r>
                        <a:rPr lang="en-US" b="1" dirty="0">
                          <a:solidFill>
                            <a:schemeClr val="bg1"/>
                          </a:solidFill>
                          <a:latin typeface="+mn-lt"/>
                        </a:rPr>
                        <a:t>Day Two</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32742" rtl="0" eaLnBrk="1" fontAlgn="b" latinLnBrk="0" hangingPunct="1"/>
                      <a:endParaRPr lang="en-US" sz="1800" b="1" kern="1200" dirty="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US" b="1" dirty="0">
                          <a:solidFill>
                            <a:schemeClr val="bg1"/>
                          </a:solidFill>
                          <a:latin typeface="+mn-lt"/>
                        </a:rPr>
                        <a:t> </a:t>
                      </a: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dirty="0">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3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Day One review and question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dirty="0">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Integrating Azure Marketplace with Procurement System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lvl="0" algn="l">
                        <a:lnSpc>
                          <a:spcPct val="100000"/>
                        </a:lnSpc>
                        <a:spcBef>
                          <a:spcPts val="0"/>
                        </a:spcBef>
                        <a:spcAft>
                          <a:spcPts val="0"/>
                        </a:spcAft>
                        <a:buNone/>
                      </a:pPr>
                      <a:r>
                        <a:rPr lang="en-US" sz="1600" b="1" i="0" u="none" strike="noStrike" noProof="0" dirty="0">
                          <a:solidFill>
                            <a:schemeClr val="tx1"/>
                          </a:solidFill>
                          <a:latin typeface="Segoe UI"/>
                        </a:rPr>
                        <a:t>10:30</a:t>
                      </a:r>
                      <a:endParaRPr lang="en-US" sz="1600" b="0" i="0" u="none" strike="noStrike" noProof="0" dirty="0">
                        <a:solidFill>
                          <a:srgbClr val="FFFFFF"/>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Lab – Integration of Entra ID to Procurement System (i.e. Ariba, Coupa, SNO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dirty="0">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dirty="0">
                          <a:solidFill>
                            <a:schemeClr val="tx2"/>
                          </a:solidFill>
                          <a:latin typeface="Segoe UI"/>
                        </a:rPr>
                        <a:t>Lunch</a:t>
                      </a:r>
                      <a:endParaRPr lang="en-US" dirty="0"/>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dirty="0">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16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Setting up a Private Azure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dirty="0">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 20 </a:t>
                      </a:r>
                      <a:r>
                        <a:rPr lang="en-US" sz="1600" dirty="0" err="1">
                          <a:solidFill>
                            <a:schemeClr val="tx1"/>
                          </a:solidFill>
                        </a:rPr>
                        <a:t>minu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rap-up </a:t>
                      </a:r>
                      <a:endParaRPr lang="en-US" sz="160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bl>
          </a:graphicData>
        </a:graphic>
      </p:graphicFrame>
    </p:spTree>
    <p:custDataLst>
      <p:tags r:id="rId1"/>
    </p:custDataLst>
    <p:extLst>
      <p:ext uri="{BB962C8B-B14F-4D97-AF65-F5344CB8AC3E}">
        <p14:creationId xmlns:p14="http://schemas.microsoft.com/office/powerpoint/2010/main" val="368251741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876300"/>
            <a:ext cx="8603023" cy="5391150"/>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mj-lt"/>
                <a:ea typeface="+mn-ea"/>
                <a:cs typeface="+mn-cs"/>
              </a:rPr>
              <a:t>What you learned:</a:t>
            </a:r>
            <a:endParaRPr lang="en-US" sz="2400" b="1" i="0" u="none" strike="noStrike" kern="1200" cap="none" spc="0" normalizeH="0" baseline="0" noProof="0" dirty="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Explain the use and benefits of Microsoft Azure Marketplace.</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600008"/>
            <a:ext cx="7621541" cy="276999"/>
            <a:chOff x="3987847" y="2196868"/>
            <a:chExt cx="7621541" cy="276999"/>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nderstand the ways to purchase solutions through Azure Marketplace.</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183349"/>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Azure Marketplace to purchase Azure resources.</a:t>
              </a: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Azure Marketplace to purchase SaaS applications.</a:t>
              </a:r>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9481AA04-0DDB-A3FD-ED50-47E2C2A045A3}"/>
              </a:ext>
            </a:extLst>
          </p:cNvPr>
          <p:cNvGrpSpPr/>
          <p:nvPr/>
        </p:nvGrpSpPr>
        <p:grpSpPr>
          <a:xfrm>
            <a:off x="3987847" y="4904027"/>
            <a:ext cx="7621541" cy="276999"/>
            <a:chOff x="3987847" y="4216168"/>
            <a:chExt cx="7621541" cy="276999"/>
          </a:xfrm>
        </p:grpSpPr>
        <p:sp>
          <p:nvSpPr>
            <p:cNvPr id="30" name="TextBox 29">
              <a:extLst>
                <a:ext uri="{FF2B5EF4-FFF2-40B4-BE49-F238E27FC236}">
                  <a16:creationId xmlns:a16="http://schemas.microsoft.com/office/drawing/2014/main" id="{3DB7542E-ADDB-131A-48BF-8DE17592FCF3}"/>
                </a:ext>
              </a:extLst>
            </p:cNvPr>
            <p:cNvSpPr txBox="1"/>
            <p:nvPr/>
          </p:nvSpPr>
          <p:spPr>
            <a:xfrm>
              <a:off x="4214813" y="42161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Deploy resources and applications from the Azure Marketplace.</a:t>
              </a:r>
            </a:p>
          </p:txBody>
        </p:sp>
        <p:sp>
          <p:nvSpPr>
            <p:cNvPr id="31" name="Freeform: Shape 11">
              <a:extLst>
                <a:ext uri="{FF2B5EF4-FFF2-40B4-BE49-F238E27FC236}">
                  <a16:creationId xmlns:a16="http://schemas.microsoft.com/office/drawing/2014/main" id="{530A2CE9-FD4F-96BD-D4BB-79961745B4D0}"/>
                </a:ext>
              </a:extLst>
            </p:cNvPr>
            <p:cNvSpPr>
              <a:spLocks/>
            </p:cNvSpPr>
            <p:nvPr/>
          </p:nvSpPr>
          <p:spPr bwMode="auto">
            <a:xfrm>
              <a:off x="3987847" y="43058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extLst>
              <p:ext uri="{D42A27DB-BD31-4B8C-83A1-F6EECF244321}">
                <p14:modId xmlns:p14="http://schemas.microsoft.com/office/powerpoint/2010/main" val="225704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7084824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dirty="0">
                <a:solidFill>
                  <a:srgbClr val="FFFFFF"/>
                </a:solidFill>
                <a:cs typeface="Segoe UI"/>
              </a:rPr>
              <a:t>Day One: Microsoft Azure Marketplace overview and purchasing</a:t>
            </a:r>
            <a:endParaRPr lang="en-US" altLang="zh-CN" dirty="0">
              <a:solidFill>
                <a:srgbClr val="FFFFFF"/>
              </a:solidFill>
            </a:endParaRPr>
          </a:p>
        </p:txBody>
      </p:sp>
    </p:spTree>
    <p:extLst>
      <p:ext uri="{BB962C8B-B14F-4D97-AF65-F5344CB8AC3E}">
        <p14:creationId xmlns:p14="http://schemas.microsoft.com/office/powerpoint/2010/main" val="273931258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8A981-3140-6AC4-D0CA-5CAF5DC138C6}"/>
              </a:ext>
            </a:extLst>
          </p:cNvPr>
          <p:cNvGraphicFramePr>
            <a:graphicFrameLocks noChangeAspect="1"/>
          </p:cNvGraphicFramePr>
          <p:nvPr>
            <p:custDataLst>
              <p:tags r:id="rId1"/>
            </p:custDataLst>
            <p:extLst>
              <p:ext uri="{D42A27DB-BD31-4B8C-83A1-F6EECF244321}">
                <p14:modId xmlns:p14="http://schemas.microsoft.com/office/powerpoint/2010/main" val="2812644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7A48A981-3140-6AC4-D0CA-5CAF5DC138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58BE030-79FF-4488-898B-E95C08ACEBDD}"/>
              </a:ext>
            </a:extLst>
          </p:cNvPr>
          <p:cNvSpPr>
            <a:spLocks noGrp="1"/>
          </p:cNvSpPr>
          <p:nvPr>
            <p:ph type="title"/>
          </p:nvPr>
        </p:nvSpPr>
        <p:spPr/>
        <p:txBody>
          <a:bodyPr vert="horz"/>
          <a:lstStyle/>
          <a:p>
            <a:r>
              <a:rPr lang="en-US" dirty="0"/>
              <a:t>Introduction</a:t>
            </a:r>
          </a:p>
        </p:txBody>
      </p:sp>
      <p:sp>
        <p:nvSpPr>
          <p:cNvPr id="52" name="TextBox 51" hidden="1">
            <a:extLst>
              <a:ext uri="{FF2B5EF4-FFF2-40B4-BE49-F238E27FC236}">
                <a16:creationId xmlns:a16="http://schemas.microsoft.com/office/drawing/2014/main" id="{2446E439-D2F8-1B07-878F-60B3205FFA6C}"/>
              </a:ext>
            </a:extLst>
          </p:cNvPr>
          <p:cNvSpPr txBox="1"/>
          <p:nvPr/>
        </p:nvSpPr>
        <p:spPr>
          <a:xfrm>
            <a:off x="2043260" y="3106616"/>
            <a:ext cx="6386660"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6" name="TextBox 115" hidden="1">
            <a:extLst>
              <a:ext uri="{FF2B5EF4-FFF2-40B4-BE49-F238E27FC236}">
                <a16:creationId xmlns:a16="http://schemas.microsoft.com/office/drawing/2014/main" id="{2C1980F8-8846-72C7-6174-16147896272D}"/>
              </a:ext>
            </a:extLst>
          </p:cNvPr>
          <p:cNvSpPr txBox="1"/>
          <p:nvPr/>
        </p:nvSpPr>
        <p:spPr>
          <a:xfrm>
            <a:off x="598714" y="2714222"/>
            <a:ext cx="11010674"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81" name="Group 80">
            <a:extLst>
              <a:ext uri="{FF2B5EF4-FFF2-40B4-BE49-F238E27FC236}">
                <a16:creationId xmlns:a16="http://schemas.microsoft.com/office/drawing/2014/main" id="{321B8452-40A9-D382-EC9F-31D06770B9D4}"/>
              </a:ext>
            </a:extLst>
          </p:cNvPr>
          <p:cNvGrpSpPr/>
          <p:nvPr/>
        </p:nvGrpSpPr>
        <p:grpSpPr>
          <a:xfrm>
            <a:off x="10887529" y="290989"/>
            <a:ext cx="1304471" cy="582454"/>
            <a:chOff x="10887529" y="246221"/>
            <a:chExt cx="1304471" cy="582454"/>
          </a:xfrm>
        </p:grpSpPr>
        <p:sp>
          <p:nvSpPr>
            <p:cNvPr id="107" name="Freeform: Shape 106">
              <a:extLst>
                <a:ext uri="{FF2B5EF4-FFF2-40B4-BE49-F238E27FC236}">
                  <a16:creationId xmlns:a16="http://schemas.microsoft.com/office/drawing/2014/main" id="{EF625E51-2F7E-8F57-817B-561826BB1681}"/>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08" name="Group 107">
              <a:extLst>
                <a:ext uri="{FF2B5EF4-FFF2-40B4-BE49-F238E27FC236}">
                  <a16:creationId xmlns:a16="http://schemas.microsoft.com/office/drawing/2014/main" id="{A2BAB0DF-8FFE-9EB1-469E-9D875B5CE7AA}"/>
                </a:ext>
              </a:extLst>
            </p:cNvPr>
            <p:cNvGrpSpPr/>
            <p:nvPr/>
          </p:nvGrpSpPr>
          <p:grpSpPr>
            <a:xfrm>
              <a:off x="10973730" y="344238"/>
              <a:ext cx="386420" cy="386420"/>
              <a:chOff x="10338730" y="326866"/>
              <a:chExt cx="753110" cy="753110"/>
            </a:xfrm>
          </p:grpSpPr>
          <p:sp>
            <p:nvSpPr>
              <p:cNvPr id="115" name="Oval 114">
                <a:extLst>
                  <a:ext uri="{FF2B5EF4-FFF2-40B4-BE49-F238E27FC236}">
                    <a16:creationId xmlns:a16="http://schemas.microsoft.com/office/drawing/2014/main" id="{A39F282C-3007-335F-CAB3-5A2F638E6ADA}"/>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23" name="Graphic 160">
                <a:extLst>
                  <a:ext uri="{FF2B5EF4-FFF2-40B4-BE49-F238E27FC236}">
                    <a16:creationId xmlns:a16="http://schemas.microsoft.com/office/drawing/2014/main" id="{BB144FE4-EA94-97FF-CC59-8350CF38DC78}"/>
                  </a:ext>
                </a:extLst>
              </p:cNvPr>
              <p:cNvGrpSpPr/>
              <p:nvPr/>
            </p:nvGrpSpPr>
            <p:grpSpPr>
              <a:xfrm>
                <a:off x="10537246" y="449420"/>
                <a:ext cx="356078" cy="508002"/>
                <a:chOff x="7053892" y="4608173"/>
                <a:chExt cx="402719" cy="574549"/>
              </a:xfrm>
              <a:noFill/>
            </p:grpSpPr>
            <p:sp>
              <p:nvSpPr>
                <p:cNvPr id="156" name="Freeform: Shape 155">
                  <a:extLst>
                    <a:ext uri="{FF2B5EF4-FFF2-40B4-BE49-F238E27FC236}">
                      <a16:creationId xmlns:a16="http://schemas.microsoft.com/office/drawing/2014/main" id="{116BDD76-6404-E8B7-5257-C9F4C1419D95}"/>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Freeform: Shape 156">
                  <a:extLst>
                    <a:ext uri="{FF2B5EF4-FFF2-40B4-BE49-F238E27FC236}">
                      <a16:creationId xmlns:a16="http://schemas.microsoft.com/office/drawing/2014/main" id="{078C737F-B156-DD9E-6B44-0ED4AFA97078}"/>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Freeform: Shape 157">
                  <a:extLst>
                    <a:ext uri="{FF2B5EF4-FFF2-40B4-BE49-F238E27FC236}">
                      <a16:creationId xmlns:a16="http://schemas.microsoft.com/office/drawing/2014/main" id="{FBEBE025-5806-CB5A-E28D-560C61B73451}"/>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 name="Freeform: Shape 158">
                  <a:extLst>
                    <a:ext uri="{FF2B5EF4-FFF2-40B4-BE49-F238E27FC236}">
                      <a16:creationId xmlns:a16="http://schemas.microsoft.com/office/drawing/2014/main" id="{37CB88D4-BFC0-FBCB-33B6-6658D0F774D5}"/>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Freeform: Shape 159">
                  <a:extLst>
                    <a:ext uri="{FF2B5EF4-FFF2-40B4-BE49-F238E27FC236}">
                      <a16:creationId xmlns:a16="http://schemas.microsoft.com/office/drawing/2014/main" id="{44568843-7C2D-7A7E-6603-CD3748DDFC02}"/>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Freeform: Shape 160">
                  <a:extLst>
                    <a:ext uri="{FF2B5EF4-FFF2-40B4-BE49-F238E27FC236}">
                      <a16:creationId xmlns:a16="http://schemas.microsoft.com/office/drawing/2014/main" id="{881763B6-9F90-2898-EFFB-F234687A057D}"/>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Freeform: Shape 161">
                  <a:extLst>
                    <a:ext uri="{FF2B5EF4-FFF2-40B4-BE49-F238E27FC236}">
                      <a16:creationId xmlns:a16="http://schemas.microsoft.com/office/drawing/2014/main" id="{CFE9B3DC-5F0A-2ADF-EF34-24FCF40FAADE}"/>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Freeform: Shape 162">
                  <a:extLst>
                    <a:ext uri="{FF2B5EF4-FFF2-40B4-BE49-F238E27FC236}">
                      <a16:creationId xmlns:a16="http://schemas.microsoft.com/office/drawing/2014/main" id="{EFA39587-6EE9-805B-2246-0EEDE5F58CB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64" name="Graphic 160">
                  <a:extLst>
                    <a:ext uri="{FF2B5EF4-FFF2-40B4-BE49-F238E27FC236}">
                      <a16:creationId xmlns:a16="http://schemas.microsoft.com/office/drawing/2014/main" id="{DEB4D271-C465-8B88-695E-A394C00372E0}"/>
                    </a:ext>
                  </a:extLst>
                </p:cNvPr>
                <p:cNvGrpSpPr/>
                <p:nvPr/>
              </p:nvGrpSpPr>
              <p:grpSpPr>
                <a:xfrm>
                  <a:off x="7258849" y="4914595"/>
                  <a:ext cx="197762" cy="268127"/>
                  <a:chOff x="7258849" y="4914595"/>
                  <a:chExt cx="197762" cy="268127"/>
                </a:xfrm>
                <a:noFill/>
              </p:grpSpPr>
              <p:sp>
                <p:nvSpPr>
                  <p:cNvPr id="165" name="Freeform: Shape 164">
                    <a:extLst>
                      <a:ext uri="{FF2B5EF4-FFF2-40B4-BE49-F238E27FC236}">
                        <a16:creationId xmlns:a16="http://schemas.microsoft.com/office/drawing/2014/main" id="{8E8E606D-A106-B057-5271-F4F294750499}"/>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Freeform: Shape 165">
                    <a:extLst>
                      <a:ext uri="{FF2B5EF4-FFF2-40B4-BE49-F238E27FC236}">
                        <a16:creationId xmlns:a16="http://schemas.microsoft.com/office/drawing/2014/main" id="{40C6E749-E428-901D-923F-3F052D3EF7D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167" name="TextBox 166">
            <a:extLst>
              <a:ext uri="{FF2B5EF4-FFF2-40B4-BE49-F238E27FC236}">
                <a16:creationId xmlns:a16="http://schemas.microsoft.com/office/drawing/2014/main" id="{D5F5558B-707E-639D-6D0D-A1F550396012}"/>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This module will help you to understand Microsoft Azure Marketplace and purchasing solutions. </a:t>
            </a:r>
          </a:p>
        </p:txBody>
      </p:sp>
      <p:sp>
        <p:nvSpPr>
          <p:cNvPr id="168" name="Rectangle: Top Corners Rounded 167">
            <a:extLst>
              <a:ext uri="{FF2B5EF4-FFF2-40B4-BE49-F238E27FC236}">
                <a16:creationId xmlns:a16="http://schemas.microsoft.com/office/drawing/2014/main" id="{96EEA05B-A927-80C9-25CB-73F054A9D7F5}"/>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69" name="TextBox 168">
            <a:extLst>
              <a:ext uri="{FF2B5EF4-FFF2-40B4-BE49-F238E27FC236}">
                <a16:creationId xmlns:a16="http://schemas.microsoft.com/office/drawing/2014/main" id="{17D5A210-8383-0BEC-DB4C-8AA2EC9BF961}"/>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dirty="0">
                <a:solidFill>
                  <a:srgbClr val="000000"/>
                </a:solidFill>
              </a:rPr>
              <a:t>After completing this module, you’ll be able to:</a:t>
            </a:r>
          </a:p>
        </p:txBody>
      </p:sp>
      <p:grpSp>
        <p:nvGrpSpPr>
          <p:cNvPr id="170" name="Group 169">
            <a:extLst>
              <a:ext uri="{FF2B5EF4-FFF2-40B4-BE49-F238E27FC236}">
                <a16:creationId xmlns:a16="http://schemas.microsoft.com/office/drawing/2014/main" id="{66AF2C7F-B8D5-0641-0F45-864779267EA3}"/>
              </a:ext>
            </a:extLst>
          </p:cNvPr>
          <p:cNvGrpSpPr/>
          <p:nvPr/>
        </p:nvGrpSpPr>
        <p:grpSpPr>
          <a:xfrm>
            <a:off x="591756" y="2527336"/>
            <a:ext cx="472258" cy="472258"/>
            <a:chOff x="591756" y="2678861"/>
            <a:chExt cx="472258" cy="472258"/>
          </a:xfrm>
        </p:grpSpPr>
        <p:sp>
          <p:nvSpPr>
            <p:cNvPr id="171" name="Freeform: Shape 11">
              <a:extLst>
                <a:ext uri="{FF2B5EF4-FFF2-40B4-BE49-F238E27FC236}">
                  <a16:creationId xmlns:a16="http://schemas.microsoft.com/office/drawing/2014/main" id="{E4630324-4F3C-8E23-B346-ADADB510854F}"/>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2" name="Oval 171">
              <a:extLst>
                <a:ext uri="{FF2B5EF4-FFF2-40B4-BE49-F238E27FC236}">
                  <a16:creationId xmlns:a16="http://schemas.microsoft.com/office/drawing/2014/main" id="{40B76B24-8A87-1CE2-D460-144574C637F5}"/>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73" name="TextBox 172">
            <a:extLst>
              <a:ext uri="{FF2B5EF4-FFF2-40B4-BE49-F238E27FC236}">
                <a16:creationId xmlns:a16="http://schemas.microsoft.com/office/drawing/2014/main" id="{C0632E7C-0241-61E1-D3F4-FCB185277595}"/>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Explain the</a:t>
            </a:r>
            <a:r>
              <a:rPr lang="en-US" sz="1400" dirty="0"/>
              <a:t> use and benefits of Microsoft Azure Marketplace</a:t>
            </a:r>
            <a:r>
              <a:rPr kumimoji="0" lang="en-US" sz="1400" b="0" i="0" u="none" strike="noStrike" kern="1200" cap="none" spc="0" normalizeH="0" baseline="0" noProof="0" dirty="0">
                <a:ln>
                  <a:noFill/>
                </a:ln>
                <a:effectLst/>
                <a:uLnTx/>
                <a:uFillTx/>
                <a:ea typeface="+mn-ea"/>
                <a:cs typeface="+mn-cs"/>
              </a:rPr>
              <a:t>.</a:t>
            </a:r>
          </a:p>
        </p:txBody>
      </p:sp>
      <p:grpSp>
        <p:nvGrpSpPr>
          <p:cNvPr id="178" name="Group 177">
            <a:extLst>
              <a:ext uri="{FF2B5EF4-FFF2-40B4-BE49-F238E27FC236}">
                <a16:creationId xmlns:a16="http://schemas.microsoft.com/office/drawing/2014/main" id="{40737460-0857-FBA2-1445-C4FB2F8D30A9}"/>
              </a:ext>
            </a:extLst>
          </p:cNvPr>
          <p:cNvGrpSpPr/>
          <p:nvPr/>
        </p:nvGrpSpPr>
        <p:grpSpPr>
          <a:xfrm>
            <a:off x="591756" y="3347014"/>
            <a:ext cx="472258" cy="472258"/>
            <a:chOff x="4863419" y="201635"/>
            <a:chExt cx="1828800" cy="1828800"/>
          </a:xfrm>
        </p:grpSpPr>
        <p:sp>
          <p:nvSpPr>
            <p:cNvPr id="179" name="Freeform: Shape 11">
              <a:extLst>
                <a:ext uri="{FF2B5EF4-FFF2-40B4-BE49-F238E27FC236}">
                  <a16:creationId xmlns:a16="http://schemas.microsoft.com/office/drawing/2014/main" id="{B96C28F6-BDD5-2862-6CAD-9812B662B95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0" name="Oval 179">
              <a:extLst>
                <a:ext uri="{FF2B5EF4-FFF2-40B4-BE49-F238E27FC236}">
                  <a16:creationId xmlns:a16="http://schemas.microsoft.com/office/drawing/2014/main" id="{91E6ABDB-24DD-1756-BAC0-AF41FB69346D}"/>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1" name="TextBox 180">
            <a:extLst>
              <a:ext uri="{FF2B5EF4-FFF2-40B4-BE49-F238E27FC236}">
                <a16:creationId xmlns:a16="http://schemas.microsoft.com/office/drawing/2014/main" id="{C01E1DF7-AFB3-BF3D-96A2-20CDD0FB59FE}"/>
              </a:ext>
            </a:extLst>
          </p:cNvPr>
          <p:cNvSpPr txBox="1"/>
          <p:nvPr/>
        </p:nvSpPr>
        <p:spPr>
          <a:xfrm>
            <a:off x="1223358" y="3429255"/>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Understand the </a:t>
            </a:r>
            <a:r>
              <a:rPr lang="en-US" sz="1400" dirty="0"/>
              <a:t>ways to purchase solutions through Azure Marketplace</a:t>
            </a:r>
            <a:r>
              <a:rPr kumimoji="0" lang="en-US" sz="1400" b="0" i="0" u="none" strike="noStrike" kern="1200" cap="none" spc="0" normalizeH="0" baseline="0" noProof="0" dirty="0">
                <a:ln>
                  <a:noFill/>
                </a:ln>
                <a:effectLst/>
                <a:uLnTx/>
                <a:uFillTx/>
                <a:ea typeface="+mn-ea"/>
                <a:cs typeface="+mn-cs"/>
              </a:rPr>
              <a:t>.</a:t>
            </a:r>
          </a:p>
        </p:txBody>
      </p:sp>
      <p:grpSp>
        <p:nvGrpSpPr>
          <p:cNvPr id="182" name="Group 181">
            <a:extLst>
              <a:ext uri="{FF2B5EF4-FFF2-40B4-BE49-F238E27FC236}">
                <a16:creationId xmlns:a16="http://schemas.microsoft.com/office/drawing/2014/main" id="{6BA9BF5C-0994-6343-FC3E-35B9E3BCCE17}"/>
              </a:ext>
            </a:extLst>
          </p:cNvPr>
          <p:cNvGrpSpPr/>
          <p:nvPr/>
        </p:nvGrpSpPr>
        <p:grpSpPr>
          <a:xfrm>
            <a:off x="591756" y="4166692"/>
            <a:ext cx="472258" cy="472258"/>
            <a:chOff x="4863419" y="201635"/>
            <a:chExt cx="1828800" cy="1828800"/>
          </a:xfrm>
        </p:grpSpPr>
        <p:sp>
          <p:nvSpPr>
            <p:cNvPr id="183" name="Freeform: Shape 11">
              <a:extLst>
                <a:ext uri="{FF2B5EF4-FFF2-40B4-BE49-F238E27FC236}">
                  <a16:creationId xmlns:a16="http://schemas.microsoft.com/office/drawing/2014/main" id="{085CA696-0F06-D052-DC60-EDD399BDD16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4" name="Oval 183">
              <a:extLst>
                <a:ext uri="{FF2B5EF4-FFF2-40B4-BE49-F238E27FC236}">
                  <a16:creationId xmlns:a16="http://schemas.microsoft.com/office/drawing/2014/main" id="{3A8BA9DE-FF09-6E77-6F35-1F1B794FA115}"/>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5" name="TextBox 184">
            <a:extLst>
              <a:ext uri="{FF2B5EF4-FFF2-40B4-BE49-F238E27FC236}">
                <a16:creationId xmlns:a16="http://schemas.microsoft.com/office/drawing/2014/main" id="{7CA9D89B-B694-6F39-9E6F-1CA0F13592F6}"/>
              </a:ext>
            </a:extLst>
          </p:cNvPr>
          <p:cNvSpPr txBox="1"/>
          <p:nvPr/>
        </p:nvSpPr>
        <p:spPr>
          <a:xfrm>
            <a:off x="1223358" y="4248933"/>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the Azure Marketplace to purchase Azure resources</a:t>
            </a:r>
            <a:r>
              <a:rPr kumimoji="0" lang="en-US" sz="1400" b="0" i="0" u="none" strike="noStrike" kern="1200" cap="none" spc="0" normalizeH="0" baseline="0" noProof="0" dirty="0">
                <a:ln>
                  <a:noFill/>
                </a:ln>
                <a:effectLst/>
                <a:uLnTx/>
                <a:uFillTx/>
                <a:ea typeface="+mn-ea"/>
                <a:cs typeface="+mn-cs"/>
              </a:rPr>
              <a:t>.</a:t>
            </a:r>
          </a:p>
        </p:txBody>
      </p:sp>
      <p:sp>
        <p:nvSpPr>
          <p:cNvPr id="186" name="TextBox 185">
            <a:extLst>
              <a:ext uri="{FF2B5EF4-FFF2-40B4-BE49-F238E27FC236}">
                <a16:creationId xmlns:a16="http://schemas.microsoft.com/office/drawing/2014/main" id="{2C77C621-8B24-9C01-BABF-AEA4AF1AAF56}"/>
              </a:ext>
            </a:extLst>
          </p:cNvPr>
          <p:cNvSpPr txBox="1"/>
          <p:nvPr/>
        </p:nvSpPr>
        <p:spPr>
          <a:xfrm>
            <a:off x="1223358" y="5068611"/>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a:t>
            </a:r>
            <a:r>
              <a:rPr kumimoji="0" lang="en-US" sz="1400" b="0" i="0" u="none" strike="noStrike" kern="1200" cap="none" spc="0" normalizeH="0" baseline="0" noProof="0" dirty="0">
                <a:ln>
                  <a:noFill/>
                </a:ln>
                <a:effectLst/>
                <a:uLnTx/>
                <a:uFillTx/>
                <a:ea typeface="+mn-ea"/>
                <a:cs typeface="+mn-cs"/>
              </a:rPr>
              <a:t>the </a:t>
            </a:r>
            <a:r>
              <a:rPr lang="en-US" sz="1400" dirty="0"/>
              <a:t>Azure Marketplace to purchase SaaS applications</a:t>
            </a:r>
            <a:r>
              <a:rPr kumimoji="0" lang="en-US" sz="1400" b="0" i="0" u="none" strike="noStrike" kern="1200" cap="none" spc="0" normalizeH="0" baseline="0" noProof="0" dirty="0">
                <a:ln>
                  <a:noFill/>
                </a:ln>
                <a:effectLst/>
                <a:uLnTx/>
                <a:uFillTx/>
                <a:ea typeface="+mn-ea"/>
                <a:cs typeface="+mn-cs"/>
              </a:rPr>
              <a:t>.</a:t>
            </a:r>
          </a:p>
        </p:txBody>
      </p:sp>
      <p:grpSp>
        <p:nvGrpSpPr>
          <p:cNvPr id="187" name="Group 186">
            <a:extLst>
              <a:ext uri="{FF2B5EF4-FFF2-40B4-BE49-F238E27FC236}">
                <a16:creationId xmlns:a16="http://schemas.microsoft.com/office/drawing/2014/main" id="{2438C725-C676-09F8-2290-8FC55FB8AFCC}"/>
              </a:ext>
            </a:extLst>
          </p:cNvPr>
          <p:cNvGrpSpPr/>
          <p:nvPr/>
        </p:nvGrpSpPr>
        <p:grpSpPr>
          <a:xfrm>
            <a:off x="591756" y="4986370"/>
            <a:ext cx="472258" cy="472258"/>
            <a:chOff x="4863419" y="201635"/>
            <a:chExt cx="1828800" cy="1828800"/>
          </a:xfrm>
        </p:grpSpPr>
        <p:sp>
          <p:nvSpPr>
            <p:cNvPr id="188" name="Freeform: Shape 11">
              <a:extLst>
                <a:ext uri="{FF2B5EF4-FFF2-40B4-BE49-F238E27FC236}">
                  <a16:creationId xmlns:a16="http://schemas.microsoft.com/office/drawing/2014/main" id="{4C1977C9-0756-100F-D4D1-7D26DFCD5B8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9" name="Oval 188">
              <a:extLst>
                <a:ext uri="{FF2B5EF4-FFF2-40B4-BE49-F238E27FC236}">
                  <a16:creationId xmlns:a16="http://schemas.microsoft.com/office/drawing/2014/main" id="{FF7CF58B-62EA-942E-621E-69CB2B787D43}"/>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90" name="TextBox 189">
            <a:extLst>
              <a:ext uri="{FF2B5EF4-FFF2-40B4-BE49-F238E27FC236}">
                <a16:creationId xmlns:a16="http://schemas.microsoft.com/office/drawing/2014/main" id="{8C2E0BB3-B0A3-DD4D-435A-54DA558FC4BD}"/>
              </a:ext>
            </a:extLst>
          </p:cNvPr>
          <p:cNvSpPr txBox="1"/>
          <p:nvPr/>
        </p:nvSpPr>
        <p:spPr>
          <a:xfrm>
            <a:off x="1223358" y="588829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Deploy resources and applications from the Azure Marketplace</a:t>
            </a:r>
            <a:r>
              <a:rPr kumimoji="0" lang="en-US" sz="1400" b="0" i="0" u="none" strike="noStrike" kern="1200" cap="none" spc="0" normalizeH="0" baseline="0" noProof="0" dirty="0">
                <a:ln>
                  <a:noFill/>
                </a:ln>
                <a:effectLst/>
                <a:uLnTx/>
                <a:uFillTx/>
                <a:ea typeface="+mn-ea"/>
                <a:cs typeface="+mn-cs"/>
              </a:rPr>
              <a:t>.</a:t>
            </a:r>
          </a:p>
        </p:txBody>
      </p:sp>
      <p:grpSp>
        <p:nvGrpSpPr>
          <p:cNvPr id="191" name="Group 190">
            <a:extLst>
              <a:ext uri="{FF2B5EF4-FFF2-40B4-BE49-F238E27FC236}">
                <a16:creationId xmlns:a16="http://schemas.microsoft.com/office/drawing/2014/main" id="{49CBE76B-E140-3F65-F34E-9AD314B2C9BD}"/>
              </a:ext>
            </a:extLst>
          </p:cNvPr>
          <p:cNvGrpSpPr/>
          <p:nvPr/>
        </p:nvGrpSpPr>
        <p:grpSpPr>
          <a:xfrm>
            <a:off x="591756" y="5806049"/>
            <a:ext cx="472258" cy="472258"/>
            <a:chOff x="4863419" y="201635"/>
            <a:chExt cx="1828800" cy="1828800"/>
          </a:xfrm>
        </p:grpSpPr>
        <p:sp>
          <p:nvSpPr>
            <p:cNvPr id="192" name="Freeform: Shape 11">
              <a:extLst>
                <a:ext uri="{FF2B5EF4-FFF2-40B4-BE49-F238E27FC236}">
                  <a16:creationId xmlns:a16="http://schemas.microsoft.com/office/drawing/2014/main" id="{4B896699-E3F9-D9C2-6648-523068D775A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3" name="Oval 192">
              <a:extLst>
                <a:ext uri="{FF2B5EF4-FFF2-40B4-BE49-F238E27FC236}">
                  <a16:creationId xmlns:a16="http://schemas.microsoft.com/office/drawing/2014/main" id="{EFA95857-720A-7382-AF76-CAD550F4D92E}"/>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people_11" title="Icon of two people with a chat bubble">
            <a:extLst>
              <a:ext uri="{FF2B5EF4-FFF2-40B4-BE49-F238E27FC236}">
                <a16:creationId xmlns:a16="http://schemas.microsoft.com/office/drawing/2014/main" id="{111CC050-3CAD-7ABB-7330-7380DDE10CA3}"/>
              </a:ext>
            </a:extLst>
          </p:cNvPr>
          <p:cNvSpPr>
            <a:spLocks noChangeAspect="1" noEditPoints="1"/>
          </p:cNvSpPr>
          <p:nvPr/>
        </p:nvSpPr>
        <p:spPr bwMode="auto">
          <a:xfrm>
            <a:off x="713361" y="2653486"/>
            <a:ext cx="229048" cy="21995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Org_ECA6" title="Icon of three boxes in a bracket chart">
            <a:extLst>
              <a:ext uri="{FF2B5EF4-FFF2-40B4-BE49-F238E27FC236}">
                <a16:creationId xmlns:a16="http://schemas.microsoft.com/office/drawing/2014/main" id="{C83D7859-A1CC-571E-B95D-E28BBB5C003D}"/>
              </a:ext>
            </a:extLst>
          </p:cNvPr>
          <p:cNvSpPr>
            <a:spLocks noChangeAspect="1" noEditPoints="1"/>
          </p:cNvSpPr>
          <p:nvPr/>
        </p:nvSpPr>
        <p:spPr bwMode="auto">
          <a:xfrm>
            <a:off x="727082" y="3482291"/>
            <a:ext cx="201606" cy="201704"/>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CRMArticles_EFF5" title="Icon of two documents stacked together with writing on them">
            <a:extLst>
              <a:ext uri="{FF2B5EF4-FFF2-40B4-BE49-F238E27FC236}">
                <a16:creationId xmlns:a16="http://schemas.microsoft.com/office/drawing/2014/main" id="{24DB0124-FCFB-C3B4-F94B-7C0ABB7DD8CB}"/>
              </a:ext>
            </a:extLst>
          </p:cNvPr>
          <p:cNvSpPr>
            <a:spLocks noChangeAspect="1" noEditPoints="1"/>
          </p:cNvSpPr>
          <p:nvPr/>
        </p:nvSpPr>
        <p:spPr bwMode="auto">
          <a:xfrm>
            <a:off x="731845" y="4291958"/>
            <a:ext cx="192080" cy="22172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Graphic 72">
            <a:extLst>
              <a:ext uri="{FF2B5EF4-FFF2-40B4-BE49-F238E27FC236}">
                <a16:creationId xmlns:a16="http://schemas.microsoft.com/office/drawing/2014/main" id="{FA23373D-B2D5-E173-01C2-CDA8EAD30FD0}"/>
              </a:ext>
            </a:extLst>
          </p:cNvPr>
          <p:cNvSpPr/>
          <p:nvPr/>
        </p:nvSpPr>
        <p:spPr>
          <a:xfrm>
            <a:off x="750895" y="5127683"/>
            <a:ext cx="153980" cy="189632"/>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6" name="tool" title="Icon of a skrewdriver and wrench">
            <a:extLst>
              <a:ext uri="{FF2B5EF4-FFF2-40B4-BE49-F238E27FC236}">
                <a16:creationId xmlns:a16="http://schemas.microsoft.com/office/drawing/2014/main" id="{C42D0583-5BCD-D8C7-1AB8-991C89EF87CB}"/>
              </a:ext>
            </a:extLst>
          </p:cNvPr>
          <p:cNvSpPr>
            <a:spLocks noChangeAspect="1" noEditPoints="1"/>
          </p:cNvSpPr>
          <p:nvPr/>
        </p:nvSpPr>
        <p:spPr bwMode="auto">
          <a:xfrm>
            <a:off x="743541" y="5923371"/>
            <a:ext cx="168688" cy="23761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444586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97CD5-183A-B74F-0D26-9D89FF7C3903}"/>
              </a:ext>
            </a:extLst>
          </p:cNvPr>
          <p:cNvSpPr>
            <a:spLocks noGrp="1"/>
          </p:cNvSpPr>
          <p:nvPr>
            <p:ph type="title"/>
          </p:nvPr>
        </p:nvSpPr>
        <p:spPr/>
        <p:txBody>
          <a:bodyPr/>
          <a:lstStyle/>
          <a:p>
            <a:r>
              <a:rPr lang="en-US">
                <a:cs typeface="Segoe UI"/>
              </a:rPr>
              <a:t>Introduction to Marketplace (60 minutes)</a:t>
            </a:r>
            <a:endParaRPr lang="en-US"/>
          </a:p>
        </p:txBody>
      </p:sp>
    </p:spTree>
    <p:extLst>
      <p:ext uri="{BB962C8B-B14F-4D97-AF65-F5344CB8AC3E}">
        <p14:creationId xmlns:p14="http://schemas.microsoft.com/office/powerpoint/2010/main" val="394858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p:txBody>
          <a:bodyPr/>
          <a:lstStyle/>
          <a:p>
            <a:r>
              <a:rPr lang="en-US" dirty="0">
                <a:cs typeface="Segoe UI"/>
              </a:rPr>
              <a:t>What is the Microsoft Azure Marketplace?</a:t>
            </a:r>
            <a:endParaRPr lang="en-US" dirty="0"/>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0"/>
          </p:nvPr>
        </p:nvSpPr>
        <p:spPr>
          <a:xfrm>
            <a:off x="584200" y="1435100"/>
            <a:ext cx="11018838" cy="2720745"/>
          </a:xfrm>
        </p:spPr>
        <p:txBody>
          <a:bodyPr vert="horz" wrap="square" lIns="0" tIns="0" rIns="0" bIns="0" rtlCol="0" anchor="t">
            <a:spAutoFit/>
          </a:bodyPr>
          <a:lstStyle/>
          <a:p>
            <a:r>
              <a:rPr lang="en-US" dirty="0">
                <a:cs typeface="Segoe UI"/>
              </a:rPr>
              <a:t>Cloud-based</a:t>
            </a:r>
          </a:p>
          <a:p>
            <a:r>
              <a:rPr lang="en-US" dirty="0">
                <a:cs typeface="Segoe UI"/>
              </a:rPr>
              <a:t>On-demand</a:t>
            </a:r>
          </a:p>
          <a:p>
            <a:r>
              <a:rPr lang="en-US" dirty="0">
                <a:cs typeface="Segoe UI"/>
              </a:rPr>
              <a:t>Microsoft services</a:t>
            </a:r>
            <a:endParaRPr lang="en-US" dirty="0"/>
          </a:p>
          <a:p>
            <a:r>
              <a:rPr lang="en-US" dirty="0">
                <a:cs typeface="Segoe UI"/>
              </a:rPr>
              <a:t>Third-party Microsoft partner services</a:t>
            </a:r>
          </a:p>
          <a:p>
            <a:pPr lvl="1"/>
            <a:r>
              <a:rPr lang="en-US" dirty="0">
                <a:cs typeface="Segoe UI"/>
              </a:rPr>
              <a:t>Independent software vendor (ISV) partners</a:t>
            </a:r>
          </a:p>
          <a:p>
            <a:pPr lvl="1"/>
            <a:r>
              <a:rPr lang="en-US" dirty="0">
                <a:cs typeface="Segoe UI"/>
              </a:rPr>
              <a:t>Global system integrators (GSI) partners – for consulting and managed services</a:t>
            </a:r>
          </a:p>
        </p:txBody>
      </p:sp>
    </p:spTree>
    <p:extLst>
      <p:ext uri="{BB962C8B-B14F-4D97-AF65-F5344CB8AC3E}">
        <p14:creationId xmlns:p14="http://schemas.microsoft.com/office/powerpoint/2010/main" val="9481362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Who uses Azure Marketplace?</a:t>
            </a:r>
          </a:p>
        </p:txBody>
      </p:sp>
      <p:graphicFrame>
        <p:nvGraphicFramePr>
          <p:cNvPr id="5" name="Content Placeholder 2">
            <a:extLst>
              <a:ext uri="{FF2B5EF4-FFF2-40B4-BE49-F238E27FC236}">
                <a16:creationId xmlns:a16="http://schemas.microsoft.com/office/drawing/2014/main" id="{EF3B220F-990E-7A66-65F2-43D2A570A232}"/>
              </a:ext>
            </a:extLst>
          </p:cNvPr>
          <p:cNvGraphicFramePr>
            <a:graphicFrameLocks noGrp="1"/>
          </p:cNvGraphicFramePr>
          <p:nvPr>
            <p:ph sz="quarter" idx="10"/>
            <p:extLst>
              <p:ext uri="{D42A27DB-BD31-4B8C-83A1-F6EECF244321}">
                <p14:modId xmlns:p14="http://schemas.microsoft.com/office/powerpoint/2010/main" val="99729078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66461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9AA89542497BB44B17EFF15C96C765B" ma:contentTypeVersion="22" ma:contentTypeDescription="Create a new document." ma:contentTypeScope="" ma:versionID="c9e3a3a2a1871a01c0bb174ddf2a8ada">
  <xsd:schema xmlns:xsd="http://www.w3.org/2001/XMLSchema" xmlns:xs="http://www.w3.org/2001/XMLSchema" xmlns:p="http://schemas.microsoft.com/office/2006/metadata/properties" xmlns:ns2="ec9ab3cf-5ffc-4e23-9951-e59f1d4d2772" xmlns:ns3="df7f103e-597c-493b-bc31-914106b908e0" targetNamespace="http://schemas.microsoft.com/office/2006/metadata/properties" ma:root="true" ma:fieldsID="9b3649dff5115b20f453b846654cb8f9" ns2:_="" ns3:_="">
    <xsd:import namespace="ec9ab3cf-5ffc-4e23-9951-e59f1d4d2772"/>
    <xsd:import namespace="df7f103e-597c-493b-bc31-914106b908e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Audience" minOccurs="0"/>
                <xsd:element ref="ns2:Credits" minOccurs="0"/>
                <xsd:element ref="ns2:OverallScore"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9ab3cf-5ffc-4e23-9951-e59f1d4d2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c2ae402-469f-44ac-8e1a-80fa5d90e29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Audience" ma:index="24" nillable="true" ma:displayName="Audience" ma:format="Dropdown" ma:internalName="Audience">
      <xsd:complexType>
        <xsd:complexContent>
          <xsd:extension base="dms:MultiChoice">
            <xsd:sequence>
              <xsd:element name="Value" maxOccurs="unbounded" minOccurs="0" nillable="true">
                <xsd:simpleType>
                  <xsd:restriction base="dms:Choice">
                    <xsd:enumeration value="Attendees"/>
                    <xsd:enumeration value="Organizers"/>
                    <xsd:enumeration value="Presenters and Moderators"/>
                    <xsd:enumeration value="Administrators"/>
                  </xsd:restriction>
                </xsd:simpleType>
              </xsd:element>
            </xsd:sequence>
          </xsd:extension>
        </xsd:complexContent>
      </xsd:complexType>
    </xsd:element>
    <xsd:element name="Credits" ma:index="25" nillable="true" ma:displayName="Credits" ma:format="Dropdown" ma:internalName="Credits">
      <xsd:simpleType>
        <xsd:restriction base="dms:Text">
          <xsd:maxLength value="255"/>
        </xsd:restriction>
      </xsd:simpleType>
    </xsd:element>
    <xsd:element name="OverallScore" ma:index="26" nillable="true" ma:displayName="Overall Score" ma:format="Dropdown" ma:internalName="OverallScore" ma:percentage="FALSE">
      <xsd:simpleType>
        <xsd:restriction base="dms:Number"/>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7f103e-597c-493b-bc31-914106b908e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4637c3a-ca42-4f7c-af94-c76bdb54c656}" ma:internalName="TaxCatchAll" ma:showField="CatchAllData" ma:web="df7f103e-597c-493b-bc31-914106b908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c9ab3cf-5ffc-4e23-9951-e59f1d4d2772">
      <Terms xmlns="http://schemas.microsoft.com/office/infopath/2007/PartnerControls"/>
    </lcf76f155ced4ddcb4097134ff3c332f>
    <Credits xmlns="ec9ab3cf-5ffc-4e23-9951-e59f1d4d2772" xsi:nil="true"/>
    <Audience xmlns="ec9ab3cf-5ffc-4e23-9951-e59f1d4d2772" xsi:nil="true"/>
    <TaxCatchAll xmlns="df7f103e-597c-493b-bc31-914106b908e0" xsi:nil="true"/>
    <OverallScore xmlns="ec9ab3cf-5ffc-4e23-9951-e59f1d4d2772" xsi:nil="true"/>
  </documentManagement>
</p:properties>
</file>

<file path=customXml/itemProps1.xml><?xml version="1.0" encoding="utf-8"?>
<ds:datastoreItem xmlns:ds="http://schemas.openxmlformats.org/officeDocument/2006/customXml" ds:itemID="{C5DC1468-2D5A-4AF4-B6A1-FA3F00E879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9ab3cf-5ffc-4e23-9951-e59f1d4d2772"/>
    <ds:schemaRef ds:uri="df7f103e-597c-493b-bc31-914106b908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8B55F93-F793-45E6-8EF9-B02CA25D11D4}">
  <ds:schemaRefs>
    <ds:schemaRef ds:uri="http://schemas.microsoft.com/sharepoint/v3/contenttype/forms"/>
  </ds:schemaRefs>
</ds:datastoreItem>
</file>

<file path=customXml/itemProps3.xml><?xml version="1.0" encoding="utf-8"?>
<ds:datastoreItem xmlns:ds="http://schemas.openxmlformats.org/officeDocument/2006/customXml" ds:itemID="{EDCB3B52-9508-4A63-AFCC-05E7630C15CA}">
  <ds:schemaRefs>
    <ds:schemaRef ds:uri="http://schemas.microsoft.com/office/2006/metadata/properties"/>
    <ds:schemaRef ds:uri="http://schemas.microsoft.com/office/infopath/2007/PartnerControls"/>
    <ds:schemaRef ds:uri="ec9ab3cf-5ffc-4e23-9951-e59f1d4d2772"/>
    <ds:schemaRef ds:uri="df7f103e-597c-493b-bc31-914106b908e0"/>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TotalTime>
  <Words>1022</Words>
  <Application>Microsoft Office PowerPoint</Application>
  <PresentationFormat>Widescreen</PresentationFormat>
  <Paragraphs>218</Paragraphs>
  <Slides>40</Slides>
  <Notes>23</Notes>
  <HiddenSlides>2</HiddenSlides>
  <MMClips>0</MMClips>
  <ScaleCrop>false</ScaleCrop>
  <HeadingPairs>
    <vt:vector size="4" baseType="variant">
      <vt:variant>
        <vt:lpstr>Theme</vt:lpstr>
      </vt:variant>
      <vt:variant>
        <vt:i4>1</vt:i4>
      </vt:variant>
      <vt:variant>
        <vt:lpstr>Slide Titles</vt:lpstr>
      </vt:variant>
      <vt:variant>
        <vt:i4>40</vt:i4>
      </vt:variant>
    </vt:vector>
  </HeadingPairs>
  <TitlesOfParts>
    <vt:vector size="41" baseType="lpstr">
      <vt:lpstr>1_Black Template</vt:lpstr>
      <vt:lpstr>Microsoft Azure Marketplace</vt:lpstr>
      <vt:lpstr>Learning objectives</vt:lpstr>
      <vt:lpstr>What to expect</vt:lpstr>
      <vt:lpstr>PowerPoint Presentation</vt:lpstr>
      <vt:lpstr>PowerPoint Presentation</vt:lpstr>
      <vt:lpstr>Introduction</vt:lpstr>
      <vt:lpstr>Introduction to Marketplace (60 minutes)</vt:lpstr>
      <vt:lpstr>What is the Microsoft Azure Marketplace?</vt:lpstr>
      <vt:lpstr>Who uses Azure Marketplace?</vt:lpstr>
      <vt:lpstr>AppSource vs. Azure Marketplace</vt:lpstr>
      <vt:lpstr>Azure Marketplace online store</vt:lpstr>
      <vt:lpstr>Exercise – Search for Free Apps on Windows</vt:lpstr>
      <vt:lpstr>Exercise – Search for Paid Apps on Windows</vt:lpstr>
      <vt:lpstr>Exercise – Search for Free Consulting Services</vt:lpstr>
      <vt:lpstr>Exercise – Search for Paid Consulting Services</vt:lpstr>
      <vt:lpstr>Creating Offers and Purchasing in Marketplace</vt:lpstr>
      <vt:lpstr>How does purchasing work in Azure Marketplace?</vt:lpstr>
      <vt:lpstr>Marketplace Rewards</vt:lpstr>
      <vt:lpstr>Listing Options</vt:lpstr>
      <vt:lpstr>Drawing Customers to Your Listing</vt:lpstr>
      <vt:lpstr>Azure Marketplace Purchasing</vt:lpstr>
      <vt:lpstr>Purchase Policy Management</vt:lpstr>
      <vt:lpstr>Cost Management and Purchase Validation</vt:lpstr>
      <vt:lpstr>Purchasing Azure Application</vt:lpstr>
      <vt:lpstr>Purchase and Deploy an Azure Application</vt:lpstr>
      <vt:lpstr>Purchasing Azure resources</vt:lpstr>
      <vt:lpstr>Purchase and Deploy an Azure Virtual Machine</vt:lpstr>
      <vt:lpstr>Purchasing SaaS applications</vt:lpstr>
      <vt:lpstr>Purchase and Subscribe to a SaaS offer</vt:lpstr>
      <vt:lpstr>Programmatic Deployment of Marketplace products</vt:lpstr>
      <vt:lpstr>SaaS Subscription Management</vt:lpstr>
      <vt:lpstr>Billing and Invoicing</vt:lpstr>
      <vt:lpstr>Consumption Benefits</vt:lpstr>
      <vt:lpstr>Subscription Transfers</vt:lpstr>
      <vt:lpstr>Afternoon: Hands-on Labs</vt:lpstr>
      <vt:lpstr>Labs</vt:lpstr>
      <vt:lpstr>Purchase and Deploy an Azure Application</vt:lpstr>
      <vt:lpstr>Purchase and Deploy an Azure Virtual Machine</vt:lpstr>
      <vt:lpstr>Purchase and Subscribe to a SaaS offer</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 can I learn more?</dc:title>
  <dc:creator>Chris Harrold</dc:creator>
  <cp:lastModifiedBy>Michael Washam</cp:lastModifiedBy>
  <cp:revision>783</cp:revision>
  <dcterms:created xsi:type="dcterms:W3CDTF">2023-04-14T00:23:05Z</dcterms:created>
  <dcterms:modified xsi:type="dcterms:W3CDTF">2023-09-12T18:4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AA89542497BB44B17EFF15C96C765B</vt:lpwstr>
  </property>
  <property fmtid="{D5CDD505-2E9C-101B-9397-08002B2CF9AE}" pid="3" name="MediaServiceImageTags">
    <vt:lpwstr/>
  </property>
</Properties>
</file>